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3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4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5.xml" ContentType="application/vnd.openxmlformats-officedocument.theme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6.xml" ContentType="application/vnd.openxmlformats-officedocument.theme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7.xml" ContentType="application/vnd.openxmlformats-officedocument.theme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theme/theme8.xml" ContentType="application/vnd.openxmlformats-officedocument.theme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theme/theme9.xml" ContentType="application/vnd.openxmlformats-officedocument.theme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theme/theme10.xml" ContentType="application/vnd.openxmlformats-officedocument.theme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theme/theme11.xml" ContentType="application/vnd.openxmlformats-officedocument.theme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theme/theme1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13.xml" ContentType="application/vnd.openxmlformats-officedocument.theme+xml"/>
  <Override PartName="/ppt/theme/theme1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  <p:sldMasterId id="2147483716" r:id="rId5"/>
    <p:sldMasterId id="2147483878" r:id="rId6"/>
    <p:sldMasterId id="2147483720" r:id="rId7"/>
    <p:sldMasterId id="2147483732" r:id="rId8"/>
    <p:sldMasterId id="2147484036" r:id="rId9"/>
    <p:sldMasterId id="2147483742" r:id="rId10"/>
    <p:sldMasterId id="2147483824" r:id="rId11"/>
    <p:sldMasterId id="2147483984" r:id="rId12"/>
    <p:sldMasterId id="2147483859" r:id="rId13"/>
    <p:sldMasterId id="2147483929" r:id="rId14"/>
    <p:sldMasterId id="2147483783" r:id="rId15"/>
  </p:sldMasterIdLst>
  <p:notesMasterIdLst>
    <p:notesMasterId r:id="rId34"/>
  </p:notesMasterIdLst>
  <p:handoutMasterIdLst>
    <p:handoutMasterId r:id="rId35"/>
  </p:handoutMasterIdLst>
  <p:sldIdLst>
    <p:sldId id="727" r:id="rId16"/>
    <p:sldId id="11481" r:id="rId17"/>
    <p:sldId id="11483" r:id="rId18"/>
    <p:sldId id="11476" r:id="rId19"/>
    <p:sldId id="11478" r:id="rId20"/>
    <p:sldId id="751" r:id="rId21"/>
    <p:sldId id="870" r:id="rId22"/>
    <p:sldId id="868" r:id="rId23"/>
    <p:sldId id="925" r:id="rId24"/>
    <p:sldId id="927" r:id="rId25"/>
    <p:sldId id="888" r:id="rId26"/>
    <p:sldId id="917" r:id="rId27"/>
    <p:sldId id="918" r:id="rId28"/>
    <p:sldId id="899" r:id="rId29"/>
    <p:sldId id="897" r:id="rId30"/>
    <p:sldId id="842" r:id="rId31"/>
    <p:sldId id="856" r:id="rId32"/>
    <p:sldId id="907" r:id="rId3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OC &amp; FDOC Checklist" id="{5C75EF3B-86B8-6647-A64C-81E4B07450B2}">
          <p14:sldIdLst>
            <p14:sldId id="727"/>
          </p14:sldIdLst>
        </p14:section>
        <p14:section name="McGraw Hill GO" id="{68F30315-5EDC-1D42-9FB4-91D26586E483}">
          <p14:sldIdLst>
            <p14:sldId id="11481"/>
            <p14:sldId id="11483"/>
            <p14:sldId id="11476"/>
            <p14:sldId id="11478"/>
          </p14:sldIdLst>
        </p14:section>
        <p14:section name="GO and Sharpen Companion FDOC" id="{3FF79D4C-1A44-495D-A98F-65822680579F}">
          <p14:sldIdLst>
            <p14:sldId id="751"/>
            <p14:sldId id="870"/>
            <p14:sldId id="868"/>
            <p14:sldId id="925"/>
            <p14:sldId id="927"/>
          </p14:sldIdLst>
        </p14:section>
        <p14:section name="Sharpen Companion: GO IA with an LMS" id="{B65C7815-9E2E-41E1-92DF-5B402E697B61}">
          <p14:sldIdLst>
            <p14:sldId id="888"/>
            <p14:sldId id="917"/>
            <p14:sldId id="918"/>
            <p14:sldId id="899"/>
            <p14:sldId id="897"/>
          </p14:sldIdLst>
        </p14:section>
        <p14:section name="Sharpen Companion: GO Log-In with LMS" id="{E075AC97-203A-436E-8FC3-C8C7FC5C0DB1}">
          <p14:sldIdLst>
            <p14:sldId id="842"/>
            <p14:sldId id="856"/>
            <p14:sldId id="907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BD84612-01DC-28C1-4AA5-EDB50D6A630E}" name="Henig, Sarit" initials="HS" userId="S::sarit.henig@mheducation.com::ad83c6bf-9a7d-4a88-b545-e6e8836bd6ee" providerId="AD"/>
  <p188:author id="{C1D3EC44-2A49-0274-D086-8618EBEE3CBE}" name="Aller, Natalie" initials="" userId="S::Natalie.Aller@mheducation.com::92aaa3dc-9298-450d-b5b0-88d600ea217d" providerId="AD"/>
  <p188:author id="{1615368D-5146-B2EC-766E-281DF745382A}" name="Mcmanus, Cathy" initials="MC" userId="S::cathy.mcmanus@mheducation.com::f6f2004f-42b0-4d49-b784-7d0ab1b5edee" providerId="AD"/>
  <p188:author id="{A73DA2DF-F3D0-C5CA-884D-19E61C0D3FFA}" name="Smitherman, Erin" initials="SE" userId="S::erin.smitherman@mheducation.com::6a5b2dc9-4c06-4251-b6ef-d4dc50cd37d6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08"/>
    <p:restoredTop sz="94649"/>
  </p:normalViewPr>
  <p:slideViewPr>
    <p:cSldViewPr snapToGrid="0">
      <p:cViewPr varScale="1">
        <p:scale>
          <a:sx n="97" d="100"/>
          <a:sy n="97" d="100"/>
        </p:scale>
        <p:origin x="728" y="1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3.xml"/><Relationship Id="rId26" Type="http://schemas.openxmlformats.org/officeDocument/2006/relationships/slide" Target="slides/slide11.xml"/><Relationship Id="rId39" Type="http://schemas.openxmlformats.org/officeDocument/2006/relationships/tableStyles" Target="tableStyles.xml"/><Relationship Id="rId21" Type="http://schemas.openxmlformats.org/officeDocument/2006/relationships/slide" Target="slides/slide6.xml"/><Relationship Id="rId34" Type="http://schemas.openxmlformats.org/officeDocument/2006/relationships/notesMaster" Target="notesMasters/notesMaster1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2.xml"/><Relationship Id="rId25" Type="http://schemas.openxmlformats.org/officeDocument/2006/relationships/slide" Target="slides/slide10.xml"/><Relationship Id="rId33" Type="http://schemas.openxmlformats.org/officeDocument/2006/relationships/slide" Target="slides/slide18.xml"/><Relationship Id="rId38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.xml"/><Relationship Id="rId20" Type="http://schemas.openxmlformats.org/officeDocument/2006/relationships/slide" Target="slides/slide5.xml"/><Relationship Id="rId29" Type="http://schemas.openxmlformats.org/officeDocument/2006/relationships/slide" Target="slides/slide14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9.xml"/><Relationship Id="rId32" Type="http://schemas.openxmlformats.org/officeDocument/2006/relationships/slide" Target="slides/slide17.xml"/><Relationship Id="rId37" Type="http://schemas.openxmlformats.org/officeDocument/2006/relationships/viewProps" Target="viewProps.xml"/><Relationship Id="rId40" Type="http://schemas.microsoft.com/office/2018/10/relationships/authors" Target="authors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" Target="slides/slide8.xml"/><Relationship Id="rId28" Type="http://schemas.openxmlformats.org/officeDocument/2006/relationships/slide" Target="slides/slide13.xml"/><Relationship Id="rId36" Type="http://schemas.openxmlformats.org/officeDocument/2006/relationships/presProps" Target="presProp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4.xml"/><Relationship Id="rId31" Type="http://schemas.openxmlformats.org/officeDocument/2006/relationships/slide" Target="slides/slide16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7.xml"/><Relationship Id="rId27" Type="http://schemas.openxmlformats.org/officeDocument/2006/relationships/slide" Target="slides/slide12.xml"/><Relationship Id="rId30" Type="http://schemas.openxmlformats.org/officeDocument/2006/relationships/slide" Target="slides/slide15.xml"/><Relationship Id="rId35" Type="http://schemas.openxmlformats.org/officeDocument/2006/relationships/handoutMaster" Target="handoutMasters/handoutMaster1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8C8B9842-8E57-FA7B-7478-DA412A87942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95C62FE-88B7-0EC8-CDBC-5AF99272B48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A088991-3BD6-5945-A53D-477BACF5905D}" type="datetimeFigureOut">
              <a:rPr lang="en-US" smtClean="0"/>
              <a:t>5/30/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A025C13-6B8D-C011-C705-95ADF35F8367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E8C2207-B0CB-1138-0457-10588AA5498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3A42495-FACE-F749-8D87-3175C066BC5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903896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DAD9B68-2129-E747-B5AF-0553D7866B9D}" type="datetimeFigureOut">
              <a:rPr lang="en-US" smtClean="0"/>
              <a:t>5/30/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CA9B8B0-6DDC-8945-BE88-15F72254A7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004654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039946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B76F7AE-78BA-9DF7-C44F-AFC0E1C588B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03E82EF-052F-792F-FF79-97376768C8D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65004A6-4BD9-EDB7-A861-3F40DB93BBC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CBE5D7E-A6C7-547E-5857-49AF1AF1C43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980819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512CEE5-D59A-A85C-DE38-2DFB580034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E97B12C-7AE7-F1DB-71AC-5DF6BC329B1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2A7715B-FE4D-D364-AE4D-FA14CF4C620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6DC00F6-30C3-D648-FA64-F0F18F8B25E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55603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24996E3-F87B-FB54-02DC-3621EF06F6E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C97B643-6569-4DCF-76DF-34FAAA412E2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6CE01EF-98EF-B685-F012-8F98B6CD279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73B81A7-CDFE-A673-4616-8538FB4D77E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004871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E030B3F-47A7-A4B4-6798-E8E684C977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F657AB0-15C9-DDE4-4F12-AF105985BE7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58968B3-03A6-6124-A598-92F42B8CD84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ea typeface="Calibri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0D08F89-59F5-010C-333E-560B164D584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337155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7D3C1A-1DE1-2B78-D79A-848EA3C7412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F36692B-7BDD-673B-7A77-B41BA02A49A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164B253-5749-0A65-2323-1A019FD943A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ts val="1800"/>
              </a:lnSpc>
            </a:pPr>
            <a:endParaRPr lang="en-US" dirty="0">
              <a:ea typeface="Calibri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5D7573C-B31E-1B8D-ECE0-34538C27680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022983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E02AC0C-1B8B-F697-680A-C5781B2E9E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113FD99-5DA6-6BF6-254C-4B1A88BB09F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231E63C-B9A7-A061-FC88-DD3933BBB08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A23A2C2-7808-FED1-2B02-9DF422B8AF1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94755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13B8A61-C950-702D-B478-2336B4A6A6F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D7B35B5-5B80-F4A5-E155-CF57EFD8FDC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F491AF9-727F-5F95-7DEB-A1379723743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7E8DF2F-3CA3-A3B5-DE38-771332DC99E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195623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D90F11-AC95-B7A2-2E34-BE03514B71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6A7DAC3-63BE-4B12-FF9C-FFAAB114FAD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4D5C23F-3B07-BF25-2B92-48EFD4F26F3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1EFF6A-F2B8-DB33-A599-39F0183DD01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476090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D1FCC78-37E2-F649-6A91-9DFDBA190E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B6F469E-FAF4-34DD-4A94-FA70E1CBC60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AB1DF8A-C02C-457B-CC18-22158371DE3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ea typeface="Calibri" panose="020F0502020204030204"/>
              <a:cs typeface="Calibri" panose="020F0502020204030204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F4EC5F6-F19D-CC72-6B16-A5E9B16121E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481922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94A3F2E-80DF-86EE-4984-F847BDD56F5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488573B-B09E-E67E-19B1-176B59B51A7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9F96004-C74D-DF6C-4D02-8919A600543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ea typeface="Calibri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B70D4D9-F234-9AA0-E437-E47CDCBD180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311077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C7C658-A5C1-FE5E-594D-ABEBB90443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B31A124-2349-67C9-279B-51F8F2C236A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71620C5-575E-A89D-335F-663083F5033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ea typeface="Calibri" panose="020F0502020204030204"/>
              <a:cs typeface="Calibri" panose="020F0502020204030204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B0084B0-B107-07FA-18ED-6272844AE31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437289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9746B0C-FA63-953B-2157-9784D38A5D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C451469-5B93-473F-7F84-72F1F3086EA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43E227B-C2EB-8DE1-433B-AECE978FA63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ea typeface="Calibri" panose="020F0502020204030204"/>
              <a:cs typeface="Calibri" panose="020F0502020204030204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FE07499-0D47-B2AB-086C-66EE0F559BE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480187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0F651C7-1262-D385-544C-8BEC063A7F8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39DA3EB-D458-CBAD-518B-34CBD54AECB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A978241-DEFA-7613-AA38-20196D1D2AE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54BE7E0-2AE8-63C3-1829-B49D890FAE6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721021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16824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19.svg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1.svg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3.svg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19.svg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1.svg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3.svg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9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9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9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0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0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0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1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1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1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2.xml"/><Relationship Id="rId5" Type="http://schemas.openxmlformats.org/officeDocument/2006/relationships/image" Target="https://d3k81ch9hvuctc.cloudfront.net/company/Ugs4T4/images/6853a8bb-2058-4d8a-887c-efa660b90745.png" TargetMode="External"/><Relationship Id="rId4" Type="http://schemas.openxmlformats.org/officeDocument/2006/relationships/image" Target="../media/image25.emf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3.xml"/><Relationship Id="rId5" Type="http://schemas.openxmlformats.org/officeDocument/2006/relationships/image" Target="https://d3k81ch9hvuctc.cloudfront.net/company/Ugs4T4/images/6853a8bb-2058-4d8a-887c-efa660b90745.png" TargetMode="External"/><Relationship Id="rId4" Type="http://schemas.openxmlformats.org/officeDocument/2006/relationships/image" Target="../media/image25.emf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4.xml"/><Relationship Id="rId5" Type="http://schemas.openxmlformats.org/officeDocument/2006/relationships/image" Target="https://d3k81ch9hvuctc.cloudfront.net/company/Ugs4T4/images/6853a8bb-2058-4d8a-887c-efa660b90745.png" TargetMode="External"/><Relationship Id="rId4" Type="http://schemas.openxmlformats.org/officeDocument/2006/relationships/image" Target="../media/image25.emf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5.xml"/><Relationship Id="rId5" Type="http://schemas.openxmlformats.org/officeDocument/2006/relationships/image" Target="https://d3k81ch9hvuctc.cloudfront.net/company/Ugs4T4/images/6853a8bb-2058-4d8a-887c-efa660b90745.png" TargetMode="External"/><Relationship Id="rId4" Type="http://schemas.openxmlformats.org/officeDocument/2006/relationships/image" Target="../media/image25.emf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2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2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2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2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2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2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2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19.svg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1.svg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3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with Image_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2EDF070E-4902-2446-B5CB-C543792B30F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id="{98F4E8AE-83DE-3E46-8112-47F77FF98D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498906"/>
            <a:ext cx="11897228" cy="5155113"/>
            <a:chOff x="0" y="498906"/>
            <a:chExt cx="11897228" cy="5155113"/>
          </a:xfrm>
        </p:grpSpPr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DD5D82C0-6CAF-574D-B118-855822081320}"/>
                </a:ext>
              </a:extLst>
            </p:cNvPr>
            <p:cNvSpPr/>
            <p:nvPr userDrawn="1"/>
          </p:nvSpPr>
          <p:spPr>
            <a:xfrm rot="18900000">
              <a:off x="10849492" y="884438"/>
              <a:ext cx="958143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C9EDF456-8163-F143-AF4A-903B97CE9BC9}"/>
                </a:ext>
              </a:extLst>
            </p:cNvPr>
            <p:cNvSpPr/>
            <p:nvPr userDrawn="1"/>
          </p:nvSpPr>
          <p:spPr>
            <a:xfrm rot="18900000">
              <a:off x="10890847" y="984019"/>
              <a:ext cx="1006381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82336C6D-E628-0041-857C-9322A2451661}"/>
                </a:ext>
              </a:extLst>
            </p:cNvPr>
            <p:cNvGrpSpPr/>
            <p:nvPr userDrawn="1"/>
          </p:nvGrpSpPr>
          <p:grpSpPr>
            <a:xfrm>
              <a:off x="10905053" y="498906"/>
              <a:ext cx="929262" cy="929262"/>
              <a:chOff x="3969603" y="2167014"/>
              <a:chExt cx="929262" cy="929262"/>
            </a:xfrm>
            <a:solidFill>
              <a:srgbClr val="E3B9FC"/>
            </a:solidFill>
          </p:grpSpPr>
          <p:sp>
            <p:nvSpPr>
              <p:cNvPr id="53" name="Parallelogram 52">
                <a:extLst>
                  <a:ext uri="{FF2B5EF4-FFF2-40B4-BE49-F238E27FC236}">
                    <a16:creationId xmlns:a16="http://schemas.microsoft.com/office/drawing/2014/main" id="{DCC0BD75-E04F-104D-9C21-744FA4C6EF68}"/>
                  </a:ext>
                </a:extLst>
              </p:cNvPr>
              <p:cNvSpPr/>
              <p:nvPr userDrawn="1"/>
            </p:nvSpPr>
            <p:spPr>
              <a:xfrm>
                <a:off x="3969603" y="2168473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4" name="Parallelogram 53">
                <a:extLst>
                  <a:ext uri="{FF2B5EF4-FFF2-40B4-BE49-F238E27FC236}">
                    <a16:creationId xmlns:a16="http://schemas.microsoft.com/office/drawing/2014/main" id="{BFEE5699-8431-704F-A655-FD491E2D8B60}"/>
                  </a:ext>
                </a:extLst>
              </p:cNvPr>
              <p:cNvSpPr/>
              <p:nvPr userDrawn="1"/>
            </p:nvSpPr>
            <p:spPr>
              <a:xfrm rot="5400000" flipH="1">
                <a:off x="4321438" y="2518849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648EC5FD-D283-3B4D-A3B4-908D0BC14F43}"/>
                </a:ext>
              </a:extLst>
            </p:cNvPr>
            <p:cNvGrpSpPr/>
            <p:nvPr userDrawn="1"/>
          </p:nvGrpSpPr>
          <p:grpSpPr>
            <a:xfrm>
              <a:off x="10902086" y="612832"/>
              <a:ext cx="823347" cy="822021"/>
              <a:chOff x="3966636" y="2277354"/>
              <a:chExt cx="823347" cy="822021"/>
            </a:xfrm>
            <a:solidFill>
              <a:srgbClr val="06235B"/>
            </a:solidFill>
          </p:grpSpPr>
          <p:sp>
            <p:nvSpPr>
              <p:cNvPr id="51" name="Parallelogram 61">
                <a:extLst>
                  <a:ext uri="{FF2B5EF4-FFF2-40B4-BE49-F238E27FC236}">
                    <a16:creationId xmlns:a16="http://schemas.microsoft.com/office/drawing/2014/main" id="{AD9D228C-7638-1141-83AF-BA7FF2D55EAE}"/>
                  </a:ext>
                </a:extLst>
              </p:cNvPr>
              <p:cNvSpPr/>
              <p:nvPr userDrawn="1"/>
            </p:nvSpPr>
            <p:spPr>
              <a:xfrm>
                <a:off x="3966636" y="2277354"/>
                <a:ext cx="821312" cy="119886"/>
              </a:xfrm>
              <a:custGeom>
                <a:avLst/>
                <a:gdLst>
                  <a:gd name="connsiteX0" fmla="*/ 0 w 929262"/>
                  <a:gd name="connsiteY0" fmla="*/ 116711 h 116711"/>
                  <a:gd name="connsiteX1" fmla="*/ 112441 w 929262"/>
                  <a:gd name="connsiteY1" fmla="*/ 0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929262"/>
                  <a:gd name="connsiteY0" fmla="*/ 116711 h 116711"/>
                  <a:gd name="connsiteX1" fmla="*/ 223566 w 929262"/>
                  <a:gd name="connsiteY1" fmla="*/ 3175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805437"/>
                  <a:gd name="connsiteY0" fmla="*/ 116711 h 116711"/>
                  <a:gd name="connsiteX1" fmla="*/ 99741 w 805437"/>
                  <a:gd name="connsiteY1" fmla="*/ 3175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1537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902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21312"/>
                  <a:gd name="connsiteY0" fmla="*/ 119886 h 119886"/>
                  <a:gd name="connsiteX1" fmla="*/ 106091 w 821312"/>
                  <a:gd name="connsiteY1" fmla="*/ 635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2441 w 821312"/>
                  <a:gd name="connsiteY1" fmla="*/ 3175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21312" h="119886">
                    <a:moveTo>
                      <a:pt x="0" y="119886"/>
                    </a:moveTo>
                    <a:lnTo>
                      <a:pt x="112441" y="3175"/>
                    </a:lnTo>
                    <a:lnTo>
                      <a:pt x="821312" y="0"/>
                    </a:lnTo>
                    <a:lnTo>
                      <a:pt x="708871" y="116711"/>
                    </a:lnTo>
                    <a:lnTo>
                      <a:pt x="0" y="11988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2" name="Parallelogram 61">
                <a:extLst>
                  <a:ext uri="{FF2B5EF4-FFF2-40B4-BE49-F238E27FC236}">
                    <a16:creationId xmlns:a16="http://schemas.microsoft.com/office/drawing/2014/main" id="{CEF32391-A87F-C646-AB2F-1C912C7ABA50}"/>
                  </a:ext>
                </a:extLst>
              </p:cNvPr>
              <p:cNvSpPr/>
              <p:nvPr userDrawn="1"/>
            </p:nvSpPr>
            <p:spPr>
              <a:xfrm rot="16200000" flipH="1">
                <a:off x="4317797" y="2627188"/>
                <a:ext cx="821312" cy="123061"/>
              </a:xfrm>
              <a:custGeom>
                <a:avLst/>
                <a:gdLst>
                  <a:gd name="connsiteX0" fmla="*/ 0 w 929262"/>
                  <a:gd name="connsiteY0" fmla="*/ 116711 h 116711"/>
                  <a:gd name="connsiteX1" fmla="*/ 112441 w 929262"/>
                  <a:gd name="connsiteY1" fmla="*/ 0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929262"/>
                  <a:gd name="connsiteY0" fmla="*/ 116711 h 116711"/>
                  <a:gd name="connsiteX1" fmla="*/ 223566 w 929262"/>
                  <a:gd name="connsiteY1" fmla="*/ 3175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805437"/>
                  <a:gd name="connsiteY0" fmla="*/ 116711 h 116711"/>
                  <a:gd name="connsiteX1" fmla="*/ 99741 w 805437"/>
                  <a:gd name="connsiteY1" fmla="*/ 3175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1537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902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21312"/>
                  <a:gd name="connsiteY0" fmla="*/ 119886 h 119886"/>
                  <a:gd name="connsiteX1" fmla="*/ 106091 w 821312"/>
                  <a:gd name="connsiteY1" fmla="*/ 635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2441 w 821312"/>
                  <a:gd name="connsiteY1" fmla="*/ 3175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8791 w 821312"/>
                  <a:gd name="connsiteY1" fmla="*/ 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23061 h 123061"/>
                  <a:gd name="connsiteX1" fmla="*/ 64816 w 821312"/>
                  <a:gd name="connsiteY1" fmla="*/ 0 h 123061"/>
                  <a:gd name="connsiteX2" fmla="*/ 821312 w 821312"/>
                  <a:gd name="connsiteY2" fmla="*/ 3175 h 123061"/>
                  <a:gd name="connsiteX3" fmla="*/ 708871 w 821312"/>
                  <a:gd name="connsiteY3" fmla="*/ 119886 h 123061"/>
                  <a:gd name="connsiteX4" fmla="*/ 0 w 821312"/>
                  <a:gd name="connsiteY4" fmla="*/ 123061 h 1230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21312" h="123061">
                    <a:moveTo>
                      <a:pt x="0" y="123061"/>
                    </a:moveTo>
                    <a:lnTo>
                      <a:pt x="64816" y="0"/>
                    </a:lnTo>
                    <a:lnTo>
                      <a:pt x="821312" y="3175"/>
                    </a:lnTo>
                    <a:lnTo>
                      <a:pt x="708871" y="119886"/>
                    </a:lnTo>
                    <a:lnTo>
                      <a:pt x="0" y="12306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77736CA0-AFFD-DB4F-8C22-2F4A88CE95D4}"/>
                </a:ext>
              </a:extLst>
            </p:cNvPr>
            <p:cNvSpPr/>
            <p:nvPr userDrawn="1"/>
          </p:nvSpPr>
          <p:spPr>
            <a:xfrm>
              <a:off x="9552721" y="1203981"/>
              <a:ext cx="1482643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81F8AE9E-4B8A-9E48-8669-C9853A249D82}"/>
                </a:ext>
              </a:extLst>
            </p:cNvPr>
            <p:cNvSpPr/>
            <p:nvPr userDrawn="1"/>
          </p:nvSpPr>
          <p:spPr>
            <a:xfrm>
              <a:off x="9618398" y="1320692"/>
              <a:ext cx="1460280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A43DF850-F8DA-9A4F-A9A4-0D9AAD65685F}"/>
                </a:ext>
              </a:extLst>
            </p:cNvPr>
            <p:cNvSpPr/>
            <p:nvPr userDrawn="1"/>
          </p:nvSpPr>
          <p:spPr>
            <a:xfrm rot="16200000">
              <a:off x="7335022" y="3370643"/>
              <a:ext cx="4450040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DB35AD5C-8478-8E4E-98D3-32BC46C27148}"/>
                </a:ext>
              </a:extLst>
            </p:cNvPr>
            <p:cNvSpPr/>
            <p:nvPr userDrawn="1"/>
          </p:nvSpPr>
          <p:spPr>
            <a:xfrm rot="16200000">
              <a:off x="7510091" y="3428998"/>
              <a:ext cx="4333326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C5E48F8A-E28A-FB4B-B7D2-9FB364C19165}"/>
                </a:ext>
              </a:extLst>
            </p:cNvPr>
            <p:cNvSpPr/>
            <p:nvPr userDrawn="1"/>
          </p:nvSpPr>
          <p:spPr>
            <a:xfrm>
              <a:off x="0" y="5420595"/>
              <a:ext cx="9572617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63ECE769-2F0D-354F-8005-B0E084BFBE6D}"/>
                </a:ext>
              </a:extLst>
            </p:cNvPr>
            <p:cNvSpPr/>
            <p:nvPr userDrawn="1"/>
          </p:nvSpPr>
          <p:spPr>
            <a:xfrm>
              <a:off x="0" y="5537306"/>
              <a:ext cx="9664179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1" name="Rectangle 20">
            <a:extLst>
              <a:ext uri="{FF2B5EF4-FFF2-40B4-BE49-F238E27FC236}">
                <a16:creationId xmlns:a16="http://schemas.microsoft.com/office/drawing/2014/main" id="{ABADAE6B-754B-4148-902D-7F291DD0F7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4023448"/>
            <a:ext cx="5144767" cy="923533"/>
          </a:xfrm>
          <a:prstGeom prst="rect">
            <a:avLst/>
          </a:prstGeom>
          <a:solidFill>
            <a:srgbClr val="E21A23"/>
          </a:solidFill>
          <a:ln w="9525">
            <a:solidFill>
              <a:srgbClr val="B716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7EC5B62-5641-E247-A8B8-460001BE786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1436453"/>
            <a:ext cx="5144874" cy="2580258"/>
          </a:xfrm>
          <a:prstGeom prst="rect">
            <a:avLst/>
          </a:prstGeom>
          <a:solidFill>
            <a:srgbClr val="E21A23"/>
          </a:solidFill>
          <a:ln w="9525">
            <a:solidFill>
              <a:srgbClr val="B716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Title 2">
            <a:extLst>
              <a:ext uri="{FF2B5EF4-FFF2-40B4-BE49-F238E27FC236}">
                <a16:creationId xmlns:a16="http://schemas.microsoft.com/office/drawing/2014/main" id="{67A20382-9199-2847-97B8-8288D88FD1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2983" y="1605014"/>
            <a:ext cx="4831300" cy="142057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64" name="Subtitle">
            <a:extLst>
              <a:ext uri="{FF2B5EF4-FFF2-40B4-BE49-F238E27FC236}">
                <a16:creationId xmlns:a16="http://schemas.microsoft.com/office/drawing/2014/main" id="{390AD8CB-CC7E-984F-9F6D-99A3A55A0A0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08087" y="3139278"/>
            <a:ext cx="4533631" cy="72398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 Sample 2 Lines Lorem Ipsum Dolore</a:t>
            </a:r>
          </a:p>
        </p:txBody>
      </p:sp>
      <p:pic>
        <p:nvPicPr>
          <p:cNvPr id="45" name="Picture 44" descr="McGraw Hill cube Logo">
            <a:extLst>
              <a:ext uri="{FF2B5EF4-FFF2-40B4-BE49-F238E27FC236}">
                <a16:creationId xmlns:a16="http://schemas.microsoft.com/office/drawing/2014/main" id="{69BF1FB9-C8BA-C141-BB8B-638E1DEEC63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  <p:sp>
        <p:nvSpPr>
          <p:cNvPr id="65" name="Name &amp; Surname">
            <a:extLst>
              <a:ext uri="{FF2B5EF4-FFF2-40B4-BE49-F238E27FC236}">
                <a16:creationId xmlns:a16="http://schemas.microsoft.com/office/drawing/2014/main" id="{434E83B2-513B-D840-ACC2-97CDC476F0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08087" y="4122407"/>
            <a:ext cx="4887913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66" name="Numeral Date">
            <a:extLst>
              <a:ext uri="{FF2B5EF4-FFF2-40B4-BE49-F238E27FC236}">
                <a16:creationId xmlns:a16="http://schemas.microsoft.com/office/drawing/2014/main" id="{FC4E2726-14C8-B14D-9721-7807227392F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08087" y="4512640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010DFA6-01F6-0757-3388-4125680AE6B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59041" y="2830679"/>
            <a:ext cx="3121683" cy="402732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63543193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Slide_Full Bleed Image_VIOLET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Four young people collaborate around a table. They use a laptop, textbook, smartphone, and sticky notes. Each has a relaxed, but intent, expression.&#10;">
            <a:extLst>
              <a:ext uri="{FF2B5EF4-FFF2-40B4-BE49-F238E27FC236}">
                <a16:creationId xmlns:a16="http://schemas.microsoft.com/office/drawing/2014/main" id="{7FC1136F-CA1A-304F-BD87-6F5AD28DF62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0053" y="0"/>
            <a:ext cx="12232106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B1327E40-7AE9-D645-B4A9-1806BB82E5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Display Date">
            <a:extLst>
              <a:ext uri="{FF2B5EF4-FFF2-40B4-BE49-F238E27FC236}">
                <a16:creationId xmlns:a16="http://schemas.microsoft.com/office/drawing/2014/main" id="{AF19FE6E-ABD4-0641-9E4F-ECE7E253ADA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64801" y="5893085"/>
            <a:ext cx="1811481" cy="31153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20" name="Name &amp; Surname">
            <a:extLst>
              <a:ext uri="{FF2B5EF4-FFF2-40B4-BE49-F238E27FC236}">
                <a16:creationId xmlns:a16="http://schemas.microsoft.com/office/drawing/2014/main" id="{7526AB89-E183-9647-B0C6-8DBEA8E2B6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64801" y="5508815"/>
            <a:ext cx="2939823" cy="31153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A35E7039-7E5C-EA46-8A76-6BF0BD49C6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64802" y="4486707"/>
            <a:ext cx="2760436" cy="354013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EE8D7D83-3733-6544-9A18-692EAF0556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79316" y="3395900"/>
            <a:ext cx="2745922" cy="9403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1" name="Picture 10" descr="McGraw Hill red cube logo ">
            <a:extLst>
              <a:ext uri="{FF2B5EF4-FFF2-40B4-BE49-F238E27FC236}">
                <a16:creationId xmlns:a16="http://schemas.microsoft.com/office/drawing/2014/main" id="{2133F0EF-B82D-AB41-BC98-F67769B6D1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750" y="18557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60018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9" pos="7310">
          <p15:clr>
            <a:srgbClr val="FBAE40"/>
          </p15:clr>
        </p15:guide>
        <p15:guide id="10" pos="336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46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Grid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D61460E-E17D-E260-CE2B-C6B62410A5E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6603" y="1478642"/>
            <a:ext cx="2133798" cy="4871033"/>
          </a:xfrm>
          <a:prstGeom prst="rect">
            <a:avLst/>
          </a:prstGeom>
        </p:spPr>
      </p:pic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8BD1FE0F-F97E-9803-78E1-A4D4F97861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936186" y="1330058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02896" y="2167341"/>
            <a:ext cx="5307918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” 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450080" y="4936535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7" name="Pg">
            <a:extLst>
              <a:ext uri="{FF2B5EF4-FFF2-40B4-BE49-F238E27FC236}">
                <a16:creationId xmlns:a16="http://schemas.microsoft.com/office/drawing/2014/main" id="{EEB87789-6D9F-424E-F39B-F56F4ADBB156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373551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Grid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F1087D9-F0F6-C895-0299-18BA5AE4D28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01193" y="1366153"/>
            <a:ext cx="2133800" cy="4871033"/>
          </a:xfrm>
          <a:prstGeom prst="rect">
            <a:avLst/>
          </a:prstGeom>
        </p:spPr>
      </p:pic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44D98E4F-19CC-A1A6-7663-3089531D65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936186" y="1330058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02896" y="2167341"/>
            <a:ext cx="5307918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” 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450080" y="4936535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8" name="Pg">
            <a:extLst>
              <a:ext uri="{FF2B5EF4-FFF2-40B4-BE49-F238E27FC236}">
                <a16:creationId xmlns:a16="http://schemas.microsoft.com/office/drawing/2014/main" id="{07D3B733-CC4C-192E-4072-6E2332F22C92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50229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Grid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800097F-793A-A8DD-23CD-E85E56C9DF1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47387" y="1330058"/>
            <a:ext cx="2133799" cy="4871033"/>
          </a:xfrm>
          <a:prstGeom prst="rect">
            <a:avLst/>
          </a:prstGeom>
        </p:spPr>
      </p:pic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5497173D-CC38-B96D-A0F3-8EDEA9494E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936186" y="1330058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02896" y="2167341"/>
            <a:ext cx="5307918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” 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450080" y="4936535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8" name="Pg">
            <a:extLst>
              <a:ext uri="{FF2B5EF4-FFF2-40B4-BE49-F238E27FC236}">
                <a16:creationId xmlns:a16="http://schemas.microsoft.com/office/drawing/2014/main" id="{2F925196-A322-2E1A-3E6F-45D39B5C3BB3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81889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Stats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D61460E-E17D-E260-CE2B-C6B62410A5E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6603" y="1478642"/>
            <a:ext cx="2133798" cy="4871033"/>
          </a:xfrm>
          <a:prstGeom prst="rect">
            <a:avLst/>
          </a:prstGeom>
        </p:spPr>
      </p:pic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8BD1FE0F-F97E-9803-78E1-A4D4F97861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936186" y="1330058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02896" y="2167341"/>
            <a:ext cx="3812636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</a:t>
            </a:r>
            <a:r>
              <a:rPr lang="en-US"/>
              <a:t>”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907614" y="4880620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8" name="Stat 1">
            <a:extLst>
              <a:ext uri="{FF2B5EF4-FFF2-40B4-BE49-F238E27FC236}">
                <a16:creationId xmlns:a16="http://schemas.microsoft.com/office/drawing/2014/main" id="{1B0A1B99-7DB4-1A20-DAE7-5BE0B597CAE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956706" y="1862334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9" name="Stat 1 Caption">
            <a:extLst>
              <a:ext uri="{FF2B5EF4-FFF2-40B4-BE49-F238E27FC236}">
                <a16:creationId xmlns:a16="http://schemas.microsoft.com/office/drawing/2014/main" id="{CE29B0C1-3A73-1BA6-E7F5-AD32949F2F9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956706" y="2732927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10" name="Stat 1 Copy">
            <a:extLst>
              <a:ext uri="{FF2B5EF4-FFF2-40B4-BE49-F238E27FC236}">
                <a16:creationId xmlns:a16="http://schemas.microsoft.com/office/drawing/2014/main" id="{EE778FA4-D7DE-979F-EE1C-DA43999DFE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970896" y="3174861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consectetuer adipiscing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12" name="Stat 2">
            <a:extLst>
              <a:ext uri="{FF2B5EF4-FFF2-40B4-BE49-F238E27FC236}">
                <a16:creationId xmlns:a16="http://schemas.microsoft.com/office/drawing/2014/main" id="{77D3325E-E610-51E4-1007-242A109C0D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04004" y="4183073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5%</a:t>
            </a:r>
          </a:p>
        </p:txBody>
      </p:sp>
      <p:sp>
        <p:nvSpPr>
          <p:cNvPr id="15" name="Stat 2 Caption">
            <a:extLst>
              <a:ext uri="{FF2B5EF4-FFF2-40B4-BE49-F238E27FC236}">
                <a16:creationId xmlns:a16="http://schemas.microsoft.com/office/drawing/2014/main" id="{4A9FA890-5152-F322-6283-64C8332438A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04004" y="5053666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16" name="Stat 2 Copy">
            <a:extLst>
              <a:ext uri="{FF2B5EF4-FFF2-40B4-BE49-F238E27FC236}">
                <a16:creationId xmlns:a16="http://schemas.microsoft.com/office/drawing/2014/main" id="{4D93E06C-C178-D1E9-836B-E412E5F033A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018194" y="5495600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consectetuer adipiscing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7" name="Pg">
            <a:extLst>
              <a:ext uri="{FF2B5EF4-FFF2-40B4-BE49-F238E27FC236}">
                <a16:creationId xmlns:a16="http://schemas.microsoft.com/office/drawing/2014/main" id="{EEB87789-6D9F-424E-F39B-F56F4ADBB156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753110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Stats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B2F88899-822A-2BAC-C0BB-931CD16C32E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0161" y="1366153"/>
            <a:ext cx="2133800" cy="4871033"/>
          </a:xfrm>
          <a:prstGeom prst="rect">
            <a:avLst/>
          </a:prstGeom>
        </p:spPr>
      </p:pic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8BD1FE0F-F97E-9803-78E1-A4D4F97861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936186" y="1330058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02896" y="2167341"/>
            <a:ext cx="3812636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</a:t>
            </a:r>
            <a:r>
              <a:rPr lang="en-US"/>
              <a:t>”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907614" y="4880620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8" name="Stat 1">
            <a:extLst>
              <a:ext uri="{FF2B5EF4-FFF2-40B4-BE49-F238E27FC236}">
                <a16:creationId xmlns:a16="http://schemas.microsoft.com/office/drawing/2014/main" id="{1B0A1B99-7DB4-1A20-DAE7-5BE0B597CAE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956706" y="1862334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tx2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9" name="Stat 1 Caption">
            <a:extLst>
              <a:ext uri="{FF2B5EF4-FFF2-40B4-BE49-F238E27FC236}">
                <a16:creationId xmlns:a16="http://schemas.microsoft.com/office/drawing/2014/main" id="{CE29B0C1-3A73-1BA6-E7F5-AD32949F2F9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956706" y="2732927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10" name="Stat 1 Copy">
            <a:extLst>
              <a:ext uri="{FF2B5EF4-FFF2-40B4-BE49-F238E27FC236}">
                <a16:creationId xmlns:a16="http://schemas.microsoft.com/office/drawing/2014/main" id="{EE778FA4-D7DE-979F-EE1C-DA43999DFE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970896" y="3174861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consectetuer adipiscing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12" name="Stat 2">
            <a:extLst>
              <a:ext uri="{FF2B5EF4-FFF2-40B4-BE49-F238E27FC236}">
                <a16:creationId xmlns:a16="http://schemas.microsoft.com/office/drawing/2014/main" id="{77D3325E-E610-51E4-1007-242A109C0D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04004" y="4183073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5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5%</a:t>
            </a:r>
          </a:p>
        </p:txBody>
      </p:sp>
      <p:sp>
        <p:nvSpPr>
          <p:cNvPr id="15" name="Stat 2 Caption">
            <a:extLst>
              <a:ext uri="{FF2B5EF4-FFF2-40B4-BE49-F238E27FC236}">
                <a16:creationId xmlns:a16="http://schemas.microsoft.com/office/drawing/2014/main" id="{4A9FA890-5152-F322-6283-64C8332438A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04004" y="5053666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16" name="Stat 2 Copy">
            <a:extLst>
              <a:ext uri="{FF2B5EF4-FFF2-40B4-BE49-F238E27FC236}">
                <a16:creationId xmlns:a16="http://schemas.microsoft.com/office/drawing/2014/main" id="{4D93E06C-C178-D1E9-836B-E412E5F033A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018194" y="5495600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consectetuer adipiscing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7" name="Pg">
            <a:extLst>
              <a:ext uri="{FF2B5EF4-FFF2-40B4-BE49-F238E27FC236}">
                <a16:creationId xmlns:a16="http://schemas.microsoft.com/office/drawing/2014/main" id="{EEB87789-6D9F-424E-F39B-F56F4ADBB156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46697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Stats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6948AF60-D99C-18A5-0A22-0D341CF07AE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47387" y="1330058"/>
            <a:ext cx="2133799" cy="4871033"/>
          </a:xfrm>
          <a:prstGeom prst="rect">
            <a:avLst/>
          </a:prstGeom>
        </p:spPr>
      </p:pic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8BD1FE0F-F97E-9803-78E1-A4D4F97861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936186" y="1330058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02896" y="2167341"/>
            <a:ext cx="3812636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</a:t>
            </a:r>
            <a:r>
              <a:rPr lang="en-US"/>
              <a:t>”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907614" y="4880620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8" name="Stat 1">
            <a:extLst>
              <a:ext uri="{FF2B5EF4-FFF2-40B4-BE49-F238E27FC236}">
                <a16:creationId xmlns:a16="http://schemas.microsoft.com/office/drawing/2014/main" id="{1B0A1B99-7DB4-1A20-DAE7-5BE0B597CAE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956706" y="1862334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3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9" name="Stat 1 Caption">
            <a:extLst>
              <a:ext uri="{FF2B5EF4-FFF2-40B4-BE49-F238E27FC236}">
                <a16:creationId xmlns:a16="http://schemas.microsoft.com/office/drawing/2014/main" id="{CE29B0C1-3A73-1BA6-E7F5-AD32949F2F9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956706" y="2732927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10" name="Stat 1 Copy">
            <a:extLst>
              <a:ext uri="{FF2B5EF4-FFF2-40B4-BE49-F238E27FC236}">
                <a16:creationId xmlns:a16="http://schemas.microsoft.com/office/drawing/2014/main" id="{EE778FA4-D7DE-979F-EE1C-DA43999DFE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970896" y="3174861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consectetuer adipiscing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12" name="Stat 2">
            <a:extLst>
              <a:ext uri="{FF2B5EF4-FFF2-40B4-BE49-F238E27FC236}">
                <a16:creationId xmlns:a16="http://schemas.microsoft.com/office/drawing/2014/main" id="{77D3325E-E610-51E4-1007-242A109C0D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04004" y="4183073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3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5%</a:t>
            </a:r>
          </a:p>
        </p:txBody>
      </p:sp>
      <p:sp>
        <p:nvSpPr>
          <p:cNvPr id="15" name="Stat 2 Caption">
            <a:extLst>
              <a:ext uri="{FF2B5EF4-FFF2-40B4-BE49-F238E27FC236}">
                <a16:creationId xmlns:a16="http://schemas.microsoft.com/office/drawing/2014/main" id="{4A9FA890-5152-F322-6283-64C8332438A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04004" y="5053666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16" name="Stat 2 Copy">
            <a:extLst>
              <a:ext uri="{FF2B5EF4-FFF2-40B4-BE49-F238E27FC236}">
                <a16:creationId xmlns:a16="http://schemas.microsoft.com/office/drawing/2014/main" id="{4D93E06C-C178-D1E9-836B-E412E5F033A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018194" y="5495600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consectetuer adipiscing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7" name="Pg">
            <a:extLst>
              <a:ext uri="{FF2B5EF4-FFF2-40B4-BE49-F238E27FC236}">
                <a16:creationId xmlns:a16="http://schemas.microsoft.com/office/drawing/2014/main" id="{EEB87789-6D9F-424E-F39B-F56F4ADBB156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144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 Slide_Individual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A96E7CA0-8C3C-3EBD-6ED3-9BB769E80B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225018" y="2094403"/>
            <a:ext cx="3422336" cy="3414533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2" name="Body Text">
            <a:extLst>
              <a:ext uri="{FF2B5EF4-FFF2-40B4-BE49-F238E27FC236}">
                <a16:creationId xmlns:a16="http://schemas.microsoft.com/office/drawing/2014/main" id="{F788FE61-2449-64AF-DCE2-15E103FAA20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57047" y="2689855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0"/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6" name="Body Text">
            <a:extLst>
              <a:ext uri="{FF2B5EF4-FFF2-40B4-BE49-F238E27FC236}">
                <a16:creationId xmlns:a16="http://schemas.microsoft.com/office/drawing/2014/main" id="{43578A47-72BE-6C4B-C324-1DA3363963F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957047" y="3172844"/>
            <a:ext cx="5307918" cy="8276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/>
            </a:lvl1pPr>
          </a:lstStyle>
          <a:p>
            <a:pPr lvl="0"/>
            <a:r>
              <a:rPr lang="en-US"/>
              <a:t>(Description of responsibilities)</a:t>
            </a:r>
          </a:p>
        </p:txBody>
      </p:sp>
      <p:sp>
        <p:nvSpPr>
          <p:cNvPr id="7" name="Pg">
            <a:extLst>
              <a:ext uri="{FF2B5EF4-FFF2-40B4-BE49-F238E27FC236}">
                <a16:creationId xmlns:a16="http://schemas.microsoft.com/office/drawing/2014/main" id="{72137697-89EC-9F1C-0D19-51DF4306ED77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2BF8800D-1DE3-3FD3-069C-4F3BA01D21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57047" y="2094403"/>
            <a:ext cx="5422996" cy="74823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</p:spTree>
    <p:extLst>
      <p:ext uri="{BB962C8B-B14F-4D97-AF65-F5344CB8AC3E}">
        <p14:creationId xmlns:p14="http://schemas.microsoft.com/office/powerpoint/2010/main" val="23661233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 Slide_Individual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8DFB25E2-62AC-989D-869E-A1139CC8209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225018" y="2094403"/>
            <a:ext cx="3422336" cy="3414533"/>
          </a:xfrm>
          <a:prstGeom prst="rect">
            <a:avLst/>
          </a:prstGeom>
          <a:solidFill>
            <a:schemeClr val="bg1"/>
          </a:solidFill>
          <a:ln w="38100">
            <a:solidFill>
              <a:srgbClr val="092467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7" name="Body Text">
            <a:extLst>
              <a:ext uri="{FF2B5EF4-FFF2-40B4-BE49-F238E27FC236}">
                <a16:creationId xmlns:a16="http://schemas.microsoft.com/office/drawing/2014/main" id="{A210F576-544A-CEAC-3E61-8A8D67FDB62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57047" y="2689855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0"/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8" name="Body Text">
            <a:extLst>
              <a:ext uri="{FF2B5EF4-FFF2-40B4-BE49-F238E27FC236}">
                <a16:creationId xmlns:a16="http://schemas.microsoft.com/office/drawing/2014/main" id="{1DA6AA1F-7BBE-D1AD-AD1F-C4AFC62C941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957047" y="3172844"/>
            <a:ext cx="5307918" cy="8276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/>
            </a:lvl1pPr>
          </a:lstStyle>
          <a:p>
            <a:pPr lvl="0"/>
            <a:r>
              <a:rPr lang="en-US"/>
              <a:t>(Description of responsibilities)</a:t>
            </a:r>
          </a:p>
        </p:txBody>
      </p:sp>
      <p:sp>
        <p:nvSpPr>
          <p:cNvPr id="5" name="Pg">
            <a:extLst>
              <a:ext uri="{FF2B5EF4-FFF2-40B4-BE49-F238E27FC236}">
                <a16:creationId xmlns:a16="http://schemas.microsoft.com/office/drawing/2014/main" id="{1E4CAEF0-50E4-ADAC-E4A7-03D572F8956D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329C2F1D-5554-DDC9-02AE-906934B59A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57047" y="2094403"/>
            <a:ext cx="5422996" cy="74823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</p:spTree>
    <p:extLst>
      <p:ext uri="{BB962C8B-B14F-4D97-AF65-F5344CB8AC3E}">
        <p14:creationId xmlns:p14="http://schemas.microsoft.com/office/powerpoint/2010/main" val="40850430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 Slide_Individual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BFF64230-07C6-7B2F-A4C6-3382A20E666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225018" y="2094403"/>
            <a:ext cx="3422336" cy="3414533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7" name="Body Text">
            <a:extLst>
              <a:ext uri="{FF2B5EF4-FFF2-40B4-BE49-F238E27FC236}">
                <a16:creationId xmlns:a16="http://schemas.microsoft.com/office/drawing/2014/main" id="{8BA3C0C5-F112-F484-ECD8-531C8D339AA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57047" y="2689855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0"/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8" name="Body Text">
            <a:extLst>
              <a:ext uri="{FF2B5EF4-FFF2-40B4-BE49-F238E27FC236}">
                <a16:creationId xmlns:a16="http://schemas.microsoft.com/office/drawing/2014/main" id="{DAE621AD-BA72-B1A5-3402-74C1B2E4DDB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957047" y="3172844"/>
            <a:ext cx="5307918" cy="8276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/>
            </a:lvl1pPr>
          </a:lstStyle>
          <a:p>
            <a:pPr lvl="0"/>
            <a:r>
              <a:rPr lang="en-US"/>
              <a:t>(Description of responsibilities)</a:t>
            </a:r>
          </a:p>
        </p:txBody>
      </p:sp>
      <p:sp>
        <p:nvSpPr>
          <p:cNvPr id="5" name="Pg">
            <a:extLst>
              <a:ext uri="{FF2B5EF4-FFF2-40B4-BE49-F238E27FC236}">
                <a16:creationId xmlns:a16="http://schemas.microsoft.com/office/drawing/2014/main" id="{33CDB57F-9CE5-5F88-4534-111CCA922852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FCD6DDB3-128C-CADE-AE3E-921A19D835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57047" y="2094403"/>
            <a:ext cx="5422996" cy="748230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</p:spTree>
    <p:extLst>
      <p:ext uri="{BB962C8B-B14F-4D97-AF65-F5344CB8AC3E}">
        <p14:creationId xmlns:p14="http://schemas.microsoft.com/office/powerpoint/2010/main" val="3875740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 Slide_Team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AD61460E-E17D-E260-CE2B-C6B62410A5E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6603" y="1478642"/>
            <a:ext cx="2133798" cy="4871033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8BD1FE0F-F97E-9803-78E1-A4D4F97861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424A5EE1-F1FD-B460-8956-BCE847515B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62789" y="1912448"/>
            <a:ext cx="5422996" cy="7482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45B31E94-5DB4-9A14-F934-E25215461A5B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3658245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2" name="Body Text">
            <a:extLst>
              <a:ext uri="{FF2B5EF4-FFF2-40B4-BE49-F238E27FC236}">
                <a16:creationId xmlns:a16="http://schemas.microsoft.com/office/drawing/2014/main" id="{B26C7E3B-6F5C-CDE9-061A-297F5473CAB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671402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5" name="Body Text">
            <a:extLst>
              <a:ext uri="{FF2B5EF4-FFF2-40B4-BE49-F238E27FC236}">
                <a16:creationId xmlns:a16="http://schemas.microsoft.com/office/drawing/2014/main" id="{DA3A8863-2B69-0D33-13BA-80ACAFA112A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672510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86B534F4-22A8-5E4C-F4FE-C95F8A9253C3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5633490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7" name="Body Text">
            <a:extLst>
              <a:ext uri="{FF2B5EF4-FFF2-40B4-BE49-F238E27FC236}">
                <a16:creationId xmlns:a16="http://schemas.microsoft.com/office/drawing/2014/main" id="{6E297E9E-72E3-45CD-2CE0-8FCA6B335AD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632382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8" name="Body Text">
            <a:extLst>
              <a:ext uri="{FF2B5EF4-FFF2-40B4-BE49-F238E27FC236}">
                <a16:creationId xmlns:a16="http://schemas.microsoft.com/office/drawing/2014/main" id="{B65CF966-233B-A64C-3964-34087DD3CDA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633490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7D57079D-6FBC-F402-1F73-376DBC7B0272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7611038" y="2691290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9" name="Body Text">
            <a:extLst>
              <a:ext uri="{FF2B5EF4-FFF2-40B4-BE49-F238E27FC236}">
                <a16:creationId xmlns:a16="http://schemas.microsoft.com/office/drawing/2014/main" id="{BFCC252E-79D1-9413-CBF9-D4A68D0C6DE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624194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20" name="Body Text">
            <a:extLst>
              <a:ext uri="{FF2B5EF4-FFF2-40B4-BE49-F238E27FC236}">
                <a16:creationId xmlns:a16="http://schemas.microsoft.com/office/drawing/2014/main" id="{74C85F6F-4418-EB83-5AD2-7D1A5B7EE65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625302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00BA9D89-5898-926B-F580-BA00D0C4B1BD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588586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22" name="Body Text">
            <a:extLst>
              <a:ext uri="{FF2B5EF4-FFF2-40B4-BE49-F238E27FC236}">
                <a16:creationId xmlns:a16="http://schemas.microsoft.com/office/drawing/2014/main" id="{449D3811-7FC3-FCBB-3726-4DC59A57734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591800" y="4565616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23" name="Body Text">
            <a:extLst>
              <a:ext uri="{FF2B5EF4-FFF2-40B4-BE49-F238E27FC236}">
                <a16:creationId xmlns:a16="http://schemas.microsoft.com/office/drawing/2014/main" id="{C28A47CA-3763-85C4-C933-D2F62FFB20A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592908" y="5048606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7" name="Pg">
            <a:extLst>
              <a:ext uri="{FF2B5EF4-FFF2-40B4-BE49-F238E27FC236}">
                <a16:creationId xmlns:a16="http://schemas.microsoft.com/office/drawing/2014/main" id="{EEB87789-6D9F-424E-F39B-F56F4ADBB156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19762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DA1175B-4997-AD46-A66F-AD54249B30D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AE7ED1B1-2133-504B-8BC5-FCD9399E99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Display Date">
            <a:extLst>
              <a:ext uri="{FF2B5EF4-FFF2-40B4-BE49-F238E27FC236}">
                <a16:creationId xmlns:a16="http://schemas.microsoft.com/office/drawing/2014/main" id="{54440BB0-874B-1C48-9D14-D93811C53E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5360" y="4867058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21" name="Name &amp; Surname">
            <a:extLst>
              <a:ext uri="{FF2B5EF4-FFF2-40B4-BE49-F238E27FC236}">
                <a16:creationId xmlns:a16="http://schemas.microsoft.com/office/drawing/2014/main" id="{D33C7042-0669-6148-9FAC-1EA8D47DBC3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85360" y="4476825"/>
            <a:ext cx="6739878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59F5F042-B335-3A4E-8342-1F0AFC60A39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11" name="Title 2">
            <a:extLst>
              <a:ext uri="{FF2B5EF4-FFF2-40B4-BE49-F238E27FC236}">
                <a16:creationId xmlns:a16="http://schemas.microsoft.com/office/drawing/2014/main" id="{0002E01B-5919-1E48-8DB8-F4682B5973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9" name="Picture 8" descr="McGraw Hill cube Logo">
            <a:extLst>
              <a:ext uri="{FF2B5EF4-FFF2-40B4-BE49-F238E27FC236}">
                <a16:creationId xmlns:a16="http://schemas.microsoft.com/office/drawing/2014/main" id="{6239E6B2-39D4-6948-B6F9-CFE0B3566DA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72895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 Slide_Team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F1087D9-F0F6-C895-0299-18BA5AE4D28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0161" y="1366153"/>
            <a:ext cx="2133800" cy="4871033"/>
          </a:xfrm>
          <a:prstGeom prst="rect">
            <a:avLst/>
          </a:prstGeom>
        </p:spPr>
      </p:pic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44D98E4F-19CC-A1A6-7663-3089531D65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A4B347B6-3A82-3AC2-864B-EB512C2D8F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62789" y="1912448"/>
            <a:ext cx="5422996" cy="7482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C6611997-54C5-6B87-858A-DFE22A9ECB47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3658245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5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2" name="Body Text">
            <a:extLst>
              <a:ext uri="{FF2B5EF4-FFF2-40B4-BE49-F238E27FC236}">
                <a16:creationId xmlns:a16="http://schemas.microsoft.com/office/drawing/2014/main" id="{EC5C3E68-D584-21B6-4B21-2A05B5C601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671402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5" name="Body Text">
            <a:extLst>
              <a:ext uri="{FF2B5EF4-FFF2-40B4-BE49-F238E27FC236}">
                <a16:creationId xmlns:a16="http://schemas.microsoft.com/office/drawing/2014/main" id="{7FD4EBC2-5816-21BE-479D-5F82B75024E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672510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554748D3-698C-84EA-2EF1-78272F130904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5633490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5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92667B3A-35FA-E008-FA32-0053746B30D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632382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7" name="Body Text">
            <a:extLst>
              <a:ext uri="{FF2B5EF4-FFF2-40B4-BE49-F238E27FC236}">
                <a16:creationId xmlns:a16="http://schemas.microsoft.com/office/drawing/2014/main" id="{4A054557-76B5-2371-D87B-C19391139E3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633490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A1E5A92C-CDFC-572F-7F61-E98329CD4A28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7611038" y="2691290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5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8" name="Body Text">
            <a:extLst>
              <a:ext uri="{FF2B5EF4-FFF2-40B4-BE49-F238E27FC236}">
                <a16:creationId xmlns:a16="http://schemas.microsoft.com/office/drawing/2014/main" id="{7D21B69A-E35A-CBF5-C16D-8E3C2AA837A2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624194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9" name="Body Text">
            <a:extLst>
              <a:ext uri="{FF2B5EF4-FFF2-40B4-BE49-F238E27FC236}">
                <a16:creationId xmlns:a16="http://schemas.microsoft.com/office/drawing/2014/main" id="{63D08A8D-E78B-1AA6-03A4-114E0B9C5EF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625302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7255E978-E783-9201-2D84-F6D7F963EDD7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588586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5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20" name="Body Text">
            <a:extLst>
              <a:ext uri="{FF2B5EF4-FFF2-40B4-BE49-F238E27FC236}">
                <a16:creationId xmlns:a16="http://schemas.microsoft.com/office/drawing/2014/main" id="{BCDED6F5-1D6A-02AC-F0DA-921B227BE20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591800" y="4565616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22" name="Body Text">
            <a:extLst>
              <a:ext uri="{FF2B5EF4-FFF2-40B4-BE49-F238E27FC236}">
                <a16:creationId xmlns:a16="http://schemas.microsoft.com/office/drawing/2014/main" id="{39F1054F-EFDC-6754-D8B8-C4715EAF71C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592908" y="5048606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8" name="Pg">
            <a:extLst>
              <a:ext uri="{FF2B5EF4-FFF2-40B4-BE49-F238E27FC236}">
                <a16:creationId xmlns:a16="http://schemas.microsoft.com/office/drawing/2014/main" id="{07D3B733-CC4C-192E-4072-6E2332F22C92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76383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 Slide_Team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800097F-793A-A8DD-23CD-E85E56C9DF1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47387" y="1330058"/>
            <a:ext cx="2133799" cy="4871033"/>
          </a:xfrm>
          <a:prstGeom prst="rect">
            <a:avLst/>
          </a:prstGeom>
        </p:spPr>
      </p:pic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5497173D-CC38-B96D-A0F3-8EDEA9494E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75831230-61E5-66E5-16D8-2064453203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62789" y="1912448"/>
            <a:ext cx="5422996" cy="7482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30C9D29D-E415-8E19-7A25-8C59E4AA4B54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3658245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2" name="Body Text">
            <a:extLst>
              <a:ext uri="{FF2B5EF4-FFF2-40B4-BE49-F238E27FC236}">
                <a16:creationId xmlns:a16="http://schemas.microsoft.com/office/drawing/2014/main" id="{C5754ACC-708A-22BA-D48B-CC49B2007A2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671402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5" name="Body Text">
            <a:extLst>
              <a:ext uri="{FF2B5EF4-FFF2-40B4-BE49-F238E27FC236}">
                <a16:creationId xmlns:a16="http://schemas.microsoft.com/office/drawing/2014/main" id="{C0205775-38D4-FE35-EEA0-8C81EE93993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672510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FFA15769-525D-2C04-B873-5FC6C886028E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5633490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A11F21FA-6969-7AAE-37BA-8F52DADE0B5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632382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7" name="Body Text">
            <a:extLst>
              <a:ext uri="{FF2B5EF4-FFF2-40B4-BE49-F238E27FC236}">
                <a16:creationId xmlns:a16="http://schemas.microsoft.com/office/drawing/2014/main" id="{B0ADFB59-55B1-71FD-A662-9E8571C0181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633490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F1BD6364-5BE9-4F02-B90E-2AD80283361D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7611038" y="2691290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8" name="Body Text">
            <a:extLst>
              <a:ext uri="{FF2B5EF4-FFF2-40B4-BE49-F238E27FC236}">
                <a16:creationId xmlns:a16="http://schemas.microsoft.com/office/drawing/2014/main" id="{6E9784CB-5420-4B46-2EB6-4875D69C461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624194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9" name="Body Text">
            <a:extLst>
              <a:ext uri="{FF2B5EF4-FFF2-40B4-BE49-F238E27FC236}">
                <a16:creationId xmlns:a16="http://schemas.microsoft.com/office/drawing/2014/main" id="{95F38C3F-77E9-47F1-309B-982253573D9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625302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2394D9DC-5A74-F59A-923F-9126E094CB1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588586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20" name="Body Text">
            <a:extLst>
              <a:ext uri="{FF2B5EF4-FFF2-40B4-BE49-F238E27FC236}">
                <a16:creationId xmlns:a16="http://schemas.microsoft.com/office/drawing/2014/main" id="{98C7A80D-3A82-7597-22B0-492161981A3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591800" y="4565616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22" name="Body Text">
            <a:extLst>
              <a:ext uri="{FF2B5EF4-FFF2-40B4-BE49-F238E27FC236}">
                <a16:creationId xmlns:a16="http://schemas.microsoft.com/office/drawing/2014/main" id="{6BC137E1-6F3A-6BF7-1FD5-B4B93BD05B4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592908" y="5048606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8" name="Pg">
            <a:extLst>
              <a:ext uri="{FF2B5EF4-FFF2-40B4-BE49-F238E27FC236}">
                <a16:creationId xmlns:a16="http://schemas.microsoft.com/office/drawing/2014/main" id="{2F925196-A322-2E1A-3E6F-45D39B5C3BB3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61133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_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81A921E9-43B1-A64F-B9DA-CFC5BD83741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5B3A0F1F-6CC0-9C4A-B3F4-21446A21E2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507347"/>
            <a:ext cx="11851251" cy="5142543"/>
            <a:chOff x="-14169" y="507347"/>
            <a:chExt cx="11851251" cy="5142543"/>
          </a:xfrm>
          <a:solidFill>
            <a:schemeClr val="bg1"/>
          </a:solidFill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0D9449F4-DDDA-2940-AC8E-5A8EB963E028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39977B72-DEEB-B642-B055-A1FC830C6F22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DA3E8350-CB13-2444-ACBA-9CB24416579D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grpFill/>
          </p:grpSpPr>
          <p:sp>
            <p:nvSpPr>
              <p:cNvPr id="35" name="Parallelogram 34">
                <a:extLst>
                  <a:ext uri="{FF2B5EF4-FFF2-40B4-BE49-F238E27FC236}">
                    <a16:creationId xmlns:a16="http://schemas.microsoft.com/office/drawing/2014/main" id="{54F2EC11-B068-3749-B697-AB996FFEBDD7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Parallelogram 35">
                <a:extLst>
                  <a:ext uri="{FF2B5EF4-FFF2-40B4-BE49-F238E27FC236}">
                    <a16:creationId xmlns:a16="http://schemas.microsoft.com/office/drawing/2014/main" id="{6D7DAAF6-5C60-8E42-8F56-8A59D01DAFF5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3A0D68A-64DE-034D-A0D9-7DBB1C30BD44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0" name="Rectangle 19">
            <a:extLst>
              <a:ext uri="{FF2B5EF4-FFF2-40B4-BE49-F238E27FC236}">
                <a16:creationId xmlns:a16="http://schemas.microsoft.com/office/drawing/2014/main" id="{C618A1B2-2685-2048-BFE2-B6555CC8C7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981524" y="1424430"/>
            <a:ext cx="1887685" cy="710471"/>
          </a:xfrm>
          <a:prstGeom prst="rect">
            <a:avLst/>
          </a:prstGeom>
          <a:solidFill>
            <a:schemeClr val="accent1"/>
          </a:solidFill>
          <a:ln w="9525">
            <a:solidFill>
              <a:srgbClr val="B716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705B96A-8D3B-C44A-9078-413E003332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81524" y="1440999"/>
            <a:ext cx="1882745" cy="693902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Thank you!</a:t>
            </a:r>
          </a:p>
        </p:txBody>
      </p:sp>
      <p:sp>
        <p:nvSpPr>
          <p:cNvPr id="3" name="Name">
            <a:extLst>
              <a:ext uri="{FF2B5EF4-FFF2-40B4-BE49-F238E27FC236}">
                <a16:creationId xmlns:a16="http://schemas.microsoft.com/office/drawing/2014/main" id="{0B1A537D-ED77-CF4A-8ABC-E57EA11545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30362" y="1832170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irst &amp; Last Name</a:t>
            </a:r>
          </a:p>
          <a:p>
            <a:pPr lvl="0"/>
            <a:endParaRPr lang="en-US"/>
          </a:p>
        </p:txBody>
      </p:sp>
      <p:sp>
        <p:nvSpPr>
          <p:cNvPr id="18" name="Email">
            <a:extLst>
              <a:ext uri="{FF2B5EF4-FFF2-40B4-BE49-F238E27FC236}">
                <a16:creationId xmlns:a16="http://schemas.microsoft.com/office/drawing/2014/main" id="{2BDDAEAE-2FFA-BA41-B1DF-A5AA99976F7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25447" y="2389710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rstname.lastname@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Phone">
            <a:extLst>
              <a:ext uri="{FF2B5EF4-FFF2-40B4-BE49-F238E27FC236}">
                <a16:creationId xmlns:a16="http://schemas.microsoft.com/office/drawing/2014/main" id="{C34696B5-18BC-0E40-B859-7FFE6DD074D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25446" y="2949647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-xxx-</a:t>
            </a: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Linkedin">
            <a:extLst>
              <a:ext uri="{FF2B5EF4-FFF2-40B4-BE49-F238E27FC236}">
                <a16:creationId xmlns:a16="http://schemas.microsoft.com/office/drawing/2014/main" id="{A68E2290-CD3F-A942-9166-4970768A3AB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25445" y="3515794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nkedIn / xxx (your profile; optional)</a:t>
            </a:r>
          </a:p>
        </p:txBody>
      </p:sp>
      <p:sp>
        <p:nvSpPr>
          <p:cNvPr id="23" name="Website">
            <a:extLst>
              <a:ext uri="{FF2B5EF4-FFF2-40B4-BE49-F238E27FC236}">
                <a16:creationId xmlns:a16="http://schemas.microsoft.com/office/drawing/2014/main" id="{5CB2CB3A-1A4A-3E4A-B674-0CCEFE60282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25444" y="4083552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9" name="Picture 18" descr="McGraw Hill Logo">
            <a:extLst>
              <a:ext uri="{FF2B5EF4-FFF2-40B4-BE49-F238E27FC236}">
                <a16:creationId xmlns:a16="http://schemas.microsoft.com/office/drawing/2014/main" id="{AC15184A-376C-3847-A9F0-FFA9008CF02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4181" y="1452056"/>
            <a:ext cx="703182" cy="7031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6966564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_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5E0D79D-6B62-1B4E-A21C-A07AA43102B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pic>
        <p:nvPicPr>
          <p:cNvPr id="2" name="Picture 1" descr="McGraw Hill red cube Logo">
            <a:extLst>
              <a:ext uri="{FF2B5EF4-FFF2-40B4-BE49-F238E27FC236}">
                <a16:creationId xmlns:a16="http://schemas.microsoft.com/office/drawing/2014/main" id="{05BB067E-F917-E8BD-9D12-40D966FC8BD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1987" y="1433834"/>
            <a:ext cx="701068" cy="701068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955242E1-DCE5-2EB8-B85C-B0537FD5A3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981524" y="1424430"/>
            <a:ext cx="1887685" cy="710471"/>
          </a:xfrm>
          <a:prstGeom prst="rect">
            <a:avLst/>
          </a:prstGeom>
          <a:solidFill>
            <a:srgbClr val="E5E5E5"/>
          </a:solidFill>
          <a:ln w="9525">
            <a:solidFill>
              <a:srgbClr val="DBDBD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1985509E-727A-DB39-85F7-3F93DAE3AC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81524" y="1440999"/>
            <a:ext cx="1882745" cy="693902"/>
          </a:xfrm>
        </p:spPr>
        <p:txBody>
          <a:bodyPr>
            <a:noAutofit/>
          </a:bodyPr>
          <a:lstStyle>
            <a:lvl1pPr>
              <a:defRPr sz="2400"/>
            </a:lvl1pPr>
          </a:lstStyle>
          <a:p>
            <a:r>
              <a:rPr lang="en-US"/>
              <a:t>Thank you!</a:t>
            </a:r>
          </a:p>
        </p:txBody>
      </p:sp>
      <p:sp>
        <p:nvSpPr>
          <p:cNvPr id="7" name="Name">
            <a:extLst>
              <a:ext uri="{FF2B5EF4-FFF2-40B4-BE49-F238E27FC236}">
                <a16:creationId xmlns:a16="http://schemas.microsoft.com/office/drawing/2014/main" id="{B3932FF3-249E-EB90-D795-2F6A1349C64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30362" y="1832170"/>
            <a:ext cx="4321429" cy="268288"/>
          </a:xfrm>
          <a:prstGeom prst="rect">
            <a:avLst/>
          </a:prstGeom>
          <a:solidFill>
            <a:srgbClr val="E5E5E5"/>
          </a:solidFill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irst &amp; Last Name</a:t>
            </a:r>
          </a:p>
          <a:p>
            <a:pPr lvl="0"/>
            <a:endParaRPr lang="en-US"/>
          </a:p>
        </p:txBody>
      </p:sp>
      <p:sp>
        <p:nvSpPr>
          <p:cNvPr id="8" name="Email">
            <a:extLst>
              <a:ext uri="{FF2B5EF4-FFF2-40B4-BE49-F238E27FC236}">
                <a16:creationId xmlns:a16="http://schemas.microsoft.com/office/drawing/2014/main" id="{BF70833C-2796-3AB6-9BDB-FA16B94E58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25447" y="2389710"/>
            <a:ext cx="4321429" cy="268288"/>
          </a:xfrm>
          <a:prstGeom prst="rect">
            <a:avLst/>
          </a:prstGeom>
          <a:solidFill>
            <a:srgbClr val="E5E5E5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rstname.lastname@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Phone">
            <a:extLst>
              <a:ext uri="{FF2B5EF4-FFF2-40B4-BE49-F238E27FC236}">
                <a16:creationId xmlns:a16="http://schemas.microsoft.com/office/drawing/2014/main" id="{BFF0DF67-2A6C-A225-F335-0B98168B1D2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25446" y="2949647"/>
            <a:ext cx="4321429" cy="268288"/>
          </a:xfrm>
          <a:prstGeom prst="rect">
            <a:avLst/>
          </a:prstGeom>
          <a:solidFill>
            <a:srgbClr val="E5E5E5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-xxx-</a:t>
            </a: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Linkedin">
            <a:extLst>
              <a:ext uri="{FF2B5EF4-FFF2-40B4-BE49-F238E27FC236}">
                <a16:creationId xmlns:a16="http://schemas.microsoft.com/office/drawing/2014/main" id="{2D8D486A-9449-ED06-5819-BBBCDF3211D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25445" y="3515794"/>
            <a:ext cx="4321429" cy="268288"/>
          </a:xfrm>
          <a:prstGeom prst="rect">
            <a:avLst/>
          </a:prstGeom>
          <a:solidFill>
            <a:srgbClr val="E5E5E5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nkedIn / xxx (your profile; optional)</a:t>
            </a:r>
          </a:p>
        </p:txBody>
      </p:sp>
      <p:sp>
        <p:nvSpPr>
          <p:cNvPr id="17" name="Website">
            <a:extLst>
              <a:ext uri="{FF2B5EF4-FFF2-40B4-BE49-F238E27FC236}">
                <a16:creationId xmlns:a16="http://schemas.microsoft.com/office/drawing/2014/main" id="{4927CA2F-2EA3-213C-D292-F5B4AE66760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25444" y="4083552"/>
            <a:ext cx="4321429" cy="268288"/>
          </a:xfrm>
          <a:prstGeom prst="rect">
            <a:avLst/>
          </a:prstGeom>
          <a:solidFill>
            <a:srgbClr val="E5E5E5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6EC1E8E5-D8DC-FDDF-BD53-917C9FAF80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017" y="498906"/>
            <a:ext cx="12183602" cy="5878123"/>
            <a:chOff x="-1017" y="498906"/>
            <a:chExt cx="12183602" cy="5878123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765A5F66-5E25-B280-EB1F-6834BB89D6F8}"/>
                </a:ext>
              </a:extLst>
            </p:cNvPr>
            <p:cNvGrpSpPr/>
            <p:nvPr userDrawn="1"/>
          </p:nvGrpSpPr>
          <p:grpSpPr>
            <a:xfrm>
              <a:off x="-1017" y="1611038"/>
              <a:ext cx="12183602" cy="4765991"/>
              <a:chOff x="-1017" y="1611038"/>
              <a:chExt cx="12183602" cy="4765991"/>
            </a:xfrm>
          </p:grpSpPr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5BCAE2CE-F803-94F4-321E-48A104EF871E}"/>
                  </a:ext>
                </a:extLst>
              </p:cNvPr>
              <p:cNvSpPr/>
              <p:nvPr/>
            </p:nvSpPr>
            <p:spPr>
              <a:xfrm rot="16200000">
                <a:off x="8777293" y="3412639"/>
                <a:ext cx="1561918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34880DFC-4EC1-8246-F7DC-1D4B2510253E}"/>
                  </a:ext>
                </a:extLst>
              </p:cNvPr>
              <p:cNvSpPr/>
              <p:nvPr userDrawn="1"/>
            </p:nvSpPr>
            <p:spPr>
              <a:xfrm rot="16200000">
                <a:off x="8952361" y="3354283"/>
                <a:ext cx="1445206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670E976F-0B73-8642-8D66-3192EE5E2971}"/>
                  </a:ext>
                </a:extLst>
              </p:cNvPr>
              <p:cNvSpPr/>
              <p:nvPr/>
            </p:nvSpPr>
            <p:spPr>
              <a:xfrm rot="18900000">
                <a:off x="9095325" y="1611038"/>
                <a:ext cx="3013278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EB55618A-0F56-ABC2-6022-E7A09006C2A0}"/>
                  </a:ext>
                </a:extLst>
              </p:cNvPr>
              <p:cNvSpPr/>
              <p:nvPr userDrawn="1"/>
            </p:nvSpPr>
            <p:spPr>
              <a:xfrm rot="18900000">
                <a:off x="9227663" y="1672933"/>
                <a:ext cx="2954922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455FB624-603C-81DE-1680-A1AC7F28B789}"/>
                  </a:ext>
                </a:extLst>
              </p:cNvPr>
              <p:cNvSpPr/>
              <p:nvPr/>
            </p:nvSpPr>
            <p:spPr>
              <a:xfrm>
                <a:off x="-1017" y="6143607"/>
                <a:ext cx="11723929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9CADDAF0-1E2C-CAAD-D609-57143A2BE340}"/>
                  </a:ext>
                </a:extLst>
              </p:cNvPr>
              <p:cNvSpPr/>
              <p:nvPr userDrawn="1"/>
            </p:nvSpPr>
            <p:spPr>
              <a:xfrm>
                <a:off x="-1017" y="6260318"/>
                <a:ext cx="11842107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2E89F197-7220-6CA2-951C-442E614E7E7F}"/>
                  </a:ext>
                </a:extLst>
              </p:cNvPr>
              <p:cNvSpPr/>
              <p:nvPr/>
            </p:nvSpPr>
            <p:spPr>
              <a:xfrm rot="16200000">
                <a:off x="10610640" y="5133287"/>
                <a:ext cx="2112803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165604F5-5C2B-4F57-46AB-4FEA640C8A6B}"/>
                  </a:ext>
                </a:extLst>
              </p:cNvPr>
              <p:cNvSpPr/>
              <p:nvPr userDrawn="1"/>
            </p:nvSpPr>
            <p:spPr>
              <a:xfrm rot="16200000">
                <a:off x="10604504" y="5139423"/>
                <a:ext cx="2358498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33A3CB74-6A04-282E-E053-0112A8787B51}"/>
                  </a:ext>
                </a:extLst>
              </p:cNvPr>
              <p:cNvSpPr/>
              <p:nvPr/>
            </p:nvSpPr>
            <p:spPr>
              <a:xfrm rot="10800000">
                <a:off x="9509673" y="4135243"/>
                <a:ext cx="2213239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6FF1ED3F-1A2C-7A34-0E50-882423C3575C}"/>
                  </a:ext>
                </a:extLst>
              </p:cNvPr>
              <p:cNvSpPr/>
              <p:nvPr userDrawn="1"/>
            </p:nvSpPr>
            <p:spPr>
              <a:xfrm rot="10800000">
                <a:off x="9616608" y="4018531"/>
                <a:ext cx="2213239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AEC21F6E-1B49-15C9-3067-6506810CF18E}"/>
                </a:ext>
              </a:extLst>
            </p:cNvPr>
            <p:cNvGrpSpPr/>
            <p:nvPr userDrawn="1"/>
          </p:nvGrpSpPr>
          <p:grpSpPr>
            <a:xfrm>
              <a:off x="10912844" y="498906"/>
              <a:ext cx="932229" cy="932361"/>
              <a:chOff x="10912844" y="498906"/>
              <a:chExt cx="932229" cy="932361"/>
            </a:xfrm>
          </p:grpSpPr>
          <p:grpSp>
            <p:nvGrpSpPr>
              <p:cNvPr id="21" name="Group 20">
                <a:extLst>
                  <a:ext uri="{FF2B5EF4-FFF2-40B4-BE49-F238E27FC236}">
                    <a16:creationId xmlns:a16="http://schemas.microsoft.com/office/drawing/2014/main" id="{A3FE3FBF-B9B5-3345-FB8A-5D679920FAAD}"/>
                  </a:ext>
                </a:extLst>
              </p:cNvPr>
              <p:cNvGrpSpPr/>
              <p:nvPr userDrawn="1"/>
            </p:nvGrpSpPr>
            <p:grpSpPr>
              <a:xfrm>
                <a:off x="10915811" y="498906"/>
                <a:ext cx="929262" cy="929262"/>
                <a:chOff x="3969603" y="2167014"/>
                <a:chExt cx="929262" cy="929262"/>
              </a:xfrm>
              <a:solidFill>
                <a:srgbClr val="E3B9FC"/>
              </a:solidFill>
            </p:grpSpPr>
            <p:sp>
              <p:nvSpPr>
                <p:cNvPr id="25" name="Parallelogram 24">
                  <a:extLst>
                    <a:ext uri="{FF2B5EF4-FFF2-40B4-BE49-F238E27FC236}">
                      <a16:creationId xmlns:a16="http://schemas.microsoft.com/office/drawing/2014/main" id="{9E71666D-27CF-390C-D2B0-93CFD70E6A98}"/>
                    </a:ext>
                  </a:extLst>
                </p:cNvPr>
                <p:cNvSpPr/>
                <p:nvPr userDrawn="1"/>
              </p:nvSpPr>
              <p:spPr>
                <a:xfrm>
                  <a:off x="3969603" y="2168473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6" name="Parallelogram 25">
                  <a:extLst>
                    <a:ext uri="{FF2B5EF4-FFF2-40B4-BE49-F238E27FC236}">
                      <a16:creationId xmlns:a16="http://schemas.microsoft.com/office/drawing/2014/main" id="{E4FB9DA5-DA53-7DCF-98B0-A41937BCF88A}"/>
                    </a:ext>
                  </a:extLst>
                </p:cNvPr>
                <p:cNvSpPr/>
                <p:nvPr userDrawn="1"/>
              </p:nvSpPr>
              <p:spPr>
                <a:xfrm rot="5400000" flipH="1">
                  <a:off x="4321438" y="2518849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22" name="Group 21">
                <a:extLst>
                  <a:ext uri="{FF2B5EF4-FFF2-40B4-BE49-F238E27FC236}">
                    <a16:creationId xmlns:a16="http://schemas.microsoft.com/office/drawing/2014/main" id="{C47A0052-7CE6-B332-92D9-706143747E84}"/>
                  </a:ext>
                </a:extLst>
              </p:cNvPr>
              <p:cNvGrpSpPr/>
              <p:nvPr userDrawn="1"/>
            </p:nvGrpSpPr>
            <p:grpSpPr>
              <a:xfrm>
                <a:off x="10912844" y="609246"/>
                <a:ext cx="823347" cy="822021"/>
                <a:chOff x="3966636" y="2277354"/>
                <a:chExt cx="823347" cy="822021"/>
              </a:xfrm>
              <a:solidFill>
                <a:srgbClr val="E21A23"/>
              </a:solidFill>
            </p:grpSpPr>
            <p:sp>
              <p:nvSpPr>
                <p:cNvPr id="23" name="Parallelogram 61">
                  <a:extLst>
                    <a:ext uri="{FF2B5EF4-FFF2-40B4-BE49-F238E27FC236}">
                      <a16:creationId xmlns:a16="http://schemas.microsoft.com/office/drawing/2014/main" id="{0154C05D-843E-009C-BA23-5FF468F8D6EB}"/>
                    </a:ext>
                  </a:extLst>
                </p:cNvPr>
                <p:cNvSpPr/>
                <p:nvPr userDrawn="1"/>
              </p:nvSpPr>
              <p:spPr>
                <a:xfrm>
                  <a:off x="3966636" y="2277354"/>
                  <a:ext cx="821312" cy="119886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19886">
                      <a:moveTo>
                        <a:pt x="0" y="119886"/>
                      </a:moveTo>
                      <a:lnTo>
                        <a:pt x="112441" y="3175"/>
                      </a:lnTo>
                      <a:lnTo>
                        <a:pt x="821312" y="0"/>
                      </a:lnTo>
                      <a:lnTo>
                        <a:pt x="708871" y="116711"/>
                      </a:lnTo>
                      <a:lnTo>
                        <a:pt x="0" y="11988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4" name="Parallelogram 61">
                  <a:extLst>
                    <a:ext uri="{FF2B5EF4-FFF2-40B4-BE49-F238E27FC236}">
                      <a16:creationId xmlns:a16="http://schemas.microsoft.com/office/drawing/2014/main" id="{0174978C-06F2-A759-62F0-4F7C4F794660}"/>
                    </a:ext>
                  </a:extLst>
                </p:cNvPr>
                <p:cNvSpPr/>
                <p:nvPr userDrawn="1"/>
              </p:nvSpPr>
              <p:spPr>
                <a:xfrm rot="16200000" flipH="1">
                  <a:off x="4317797" y="2627188"/>
                  <a:ext cx="821312" cy="123061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8791 w 821312"/>
                    <a:gd name="connsiteY1" fmla="*/ 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23061 h 123061"/>
                    <a:gd name="connsiteX1" fmla="*/ 64816 w 821312"/>
                    <a:gd name="connsiteY1" fmla="*/ 0 h 123061"/>
                    <a:gd name="connsiteX2" fmla="*/ 821312 w 821312"/>
                    <a:gd name="connsiteY2" fmla="*/ 3175 h 123061"/>
                    <a:gd name="connsiteX3" fmla="*/ 708871 w 821312"/>
                    <a:gd name="connsiteY3" fmla="*/ 119886 h 123061"/>
                    <a:gd name="connsiteX4" fmla="*/ 0 w 821312"/>
                    <a:gd name="connsiteY4" fmla="*/ 123061 h 1230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23061">
                      <a:moveTo>
                        <a:pt x="0" y="123061"/>
                      </a:moveTo>
                      <a:lnTo>
                        <a:pt x="64816" y="0"/>
                      </a:lnTo>
                      <a:lnTo>
                        <a:pt x="821312" y="3175"/>
                      </a:lnTo>
                      <a:lnTo>
                        <a:pt x="708871" y="119886"/>
                      </a:lnTo>
                      <a:lnTo>
                        <a:pt x="0" y="12306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13725436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_VIOLE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EEDE3686-DB2A-E63C-9903-A8244C6A11E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5B3A0F1F-6CC0-9C4A-B3F4-21446A21E2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507347"/>
            <a:ext cx="11851251" cy="5142543"/>
            <a:chOff x="-14169" y="507347"/>
            <a:chExt cx="11851251" cy="5142543"/>
          </a:xfrm>
          <a:solidFill>
            <a:schemeClr val="bg1"/>
          </a:solidFill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0D9449F4-DDDA-2940-AC8E-5A8EB963E028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39977B72-DEEB-B642-B055-A1FC830C6F22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DA3E8350-CB13-2444-ACBA-9CB24416579D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grpFill/>
          </p:grpSpPr>
          <p:sp>
            <p:nvSpPr>
              <p:cNvPr id="35" name="Parallelogram 34">
                <a:extLst>
                  <a:ext uri="{FF2B5EF4-FFF2-40B4-BE49-F238E27FC236}">
                    <a16:creationId xmlns:a16="http://schemas.microsoft.com/office/drawing/2014/main" id="{54F2EC11-B068-3749-B697-AB996FFEBDD7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Parallelogram 35">
                <a:extLst>
                  <a:ext uri="{FF2B5EF4-FFF2-40B4-BE49-F238E27FC236}">
                    <a16:creationId xmlns:a16="http://schemas.microsoft.com/office/drawing/2014/main" id="{6D7DAAF6-5C60-8E42-8F56-8A59D01DAFF5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3A0D68A-64DE-034D-A0D9-7DBB1C30BD44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0" name="Rectangle 19">
            <a:extLst>
              <a:ext uri="{FF2B5EF4-FFF2-40B4-BE49-F238E27FC236}">
                <a16:creationId xmlns:a16="http://schemas.microsoft.com/office/drawing/2014/main" id="{C618A1B2-2685-2048-BFE2-B6555CC8C7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981524" y="1424430"/>
            <a:ext cx="1887685" cy="710471"/>
          </a:xfrm>
          <a:prstGeom prst="rect">
            <a:avLst/>
          </a:prstGeom>
          <a:solidFill>
            <a:schemeClr val="accent1"/>
          </a:solidFill>
          <a:ln w="9525">
            <a:solidFill>
              <a:srgbClr val="B716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705B96A-8D3B-C44A-9078-413E003332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81524" y="1440999"/>
            <a:ext cx="1882745" cy="693902"/>
          </a:xfrm>
          <a:solidFill>
            <a:schemeClr val="accent4"/>
          </a:solidFill>
        </p:spPr>
        <p:txBody>
          <a:bodyPr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Thank you!</a:t>
            </a:r>
          </a:p>
        </p:txBody>
      </p:sp>
      <p:sp>
        <p:nvSpPr>
          <p:cNvPr id="3" name="Name">
            <a:extLst>
              <a:ext uri="{FF2B5EF4-FFF2-40B4-BE49-F238E27FC236}">
                <a16:creationId xmlns:a16="http://schemas.microsoft.com/office/drawing/2014/main" id="{0B1A537D-ED77-CF4A-8ABC-E57EA11545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30362" y="1832170"/>
            <a:ext cx="4321429" cy="268288"/>
          </a:xfrm>
          <a:prstGeom prst="rect">
            <a:avLst/>
          </a:prstGeom>
          <a:solidFill>
            <a:schemeClr val="accent4"/>
          </a:solidFill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irst &amp; Last Name</a:t>
            </a:r>
          </a:p>
          <a:p>
            <a:pPr lvl="0"/>
            <a:endParaRPr lang="en-US"/>
          </a:p>
        </p:txBody>
      </p:sp>
      <p:sp>
        <p:nvSpPr>
          <p:cNvPr id="18" name="Email">
            <a:extLst>
              <a:ext uri="{FF2B5EF4-FFF2-40B4-BE49-F238E27FC236}">
                <a16:creationId xmlns:a16="http://schemas.microsoft.com/office/drawing/2014/main" id="{2BDDAEAE-2FFA-BA41-B1DF-A5AA99976F7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25447" y="2389710"/>
            <a:ext cx="4321429" cy="268288"/>
          </a:xfrm>
          <a:prstGeom prst="rect">
            <a:avLst/>
          </a:prstGeom>
          <a:solidFill>
            <a:schemeClr val="accent4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rstname.lastname@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Phone">
            <a:extLst>
              <a:ext uri="{FF2B5EF4-FFF2-40B4-BE49-F238E27FC236}">
                <a16:creationId xmlns:a16="http://schemas.microsoft.com/office/drawing/2014/main" id="{C34696B5-18BC-0E40-B859-7FFE6DD074D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25446" y="2949647"/>
            <a:ext cx="4321429" cy="268288"/>
          </a:xfrm>
          <a:prstGeom prst="rect">
            <a:avLst/>
          </a:prstGeom>
          <a:solidFill>
            <a:schemeClr val="accent4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-xxx-</a:t>
            </a: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Linkedin">
            <a:extLst>
              <a:ext uri="{FF2B5EF4-FFF2-40B4-BE49-F238E27FC236}">
                <a16:creationId xmlns:a16="http://schemas.microsoft.com/office/drawing/2014/main" id="{A68E2290-CD3F-A942-9166-4970768A3AB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25445" y="3515794"/>
            <a:ext cx="4321429" cy="268288"/>
          </a:xfrm>
          <a:prstGeom prst="rect">
            <a:avLst/>
          </a:prstGeom>
          <a:solidFill>
            <a:schemeClr val="accent4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nkedIn / xxx (your profile; optional)</a:t>
            </a:r>
          </a:p>
        </p:txBody>
      </p:sp>
      <p:sp>
        <p:nvSpPr>
          <p:cNvPr id="23" name="Website">
            <a:extLst>
              <a:ext uri="{FF2B5EF4-FFF2-40B4-BE49-F238E27FC236}">
                <a16:creationId xmlns:a16="http://schemas.microsoft.com/office/drawing/2014/main" id="{5CB2CB3A-1A4A-3E4A-B674-0CCEFE60282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25444" y="4083552"/>
            <a:ext cx="4321429" cy="268288"/>
          </a:xfrm>
          <a:prstGeom prst="rect">
            <a:avLst/>
          </a:prstGeom>
          <a:solidFill>
            <a:schemeClr val="accent4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3" descr="McGraw Hill red cube Logo">
            <a:extLst>
              <a:ext uri="{FF2B5EF4-FFF2-40B4-BE49-F238E27FC236}">
                <a16:creationId xmlns:a16="http://schemas.microsoft.com/office/drawing/2014/main" id="{F0D525F2-F9A7-7A73-4B30-ACE22BC64B8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1987" y="1433834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1555800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9F3E537-3F47-CF42-9252-F6DE9E8EFAA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5B3A0F1F-6CC0-9C4A-B3F4-21446A21E2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507347"/>
            <a:ext cx="11851251" cy="5142543"/>
            <a:chOff x="-14169" y="507347"/>
            <a:chExt cx="11851251" cy="5142543"/>
          </a:xfrm>
          <a:solidFill>
            <a:schemeClr val="accent1"/>
          </a:solidFill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0D9449F4-DDDA-2940-AC8E-5A8EB963E028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39977B72-DEEB-B642-B055-A1FC830C6F22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DA3E8350-CB13-2444-ACBA-9CB24416579D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grpFill/>
          </p:grpSpPr>
          <p:sp>
            <p:nvSpPr>
              <p:cNvPr id="35" name="Parallelogram 34">
                <a:extLst>
                  <a:ext uri="{FF2B5EF4-FFF2-40B4-BE49-F238E27FC236}">
                    <a16:creationId xmlns:a16="http://schemas.microsoft.com/office/drawing/2014/main" id="{54F2EC11-B068-3749-B697-AB996FFEBDD7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Parallelogram 35">
                <a:extLst>
                  <a:ext uri="{FF2B5EF4-FFF2-40B4-BE49-F238E27FC236}">
                    <a16:creationId xmlns:a16="http://schemas.microsoft.com/office/drawing/2014/main" id="{6D7DAAF6-5C60-8E42-8F56-8A59D01DAFF5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3A0D68A-64DE-034D-A0D9-7DBB1C30BD44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5" name="Rectangle 24">
            <a:extLst>
              <a:ext uri="{FF2B5EF4-FFF2-40B4-BE49-F238E27FC236}">
                <a16:creationId xmlns:a16="http://schemas.microsoft.com/office/drawing/2014/main" id="{CA2A2D41-DD4C-5142-BB67-1F26B8A758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981524" y="1424430"/>
            <a:ext cx="1887685" cy="710471"/>
          </a:xfrm>
          <a:prstGeom prst="rect">
            <a:avLst/>
          </a:prstGeom>
          <a:solidFill>
            <a:schemeClr val="bg1"/>
          </a:solidFill>
          <a:ln w="9525">
            <a:solidFill>
              <a:srgbClr val="DBDBD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C8647846-01CE-514B-90CE-D4C484DE06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81524" y="1440999"/>
            <a:ext cx="1882745" cy="693902"/>
          </a:xfrm>
        </p:spPr>
        <p:txBody>
          <a:bodyPr>
            <a:noAutofit/>
          </a:bodyPr>
          <a:lstStyle>
            <a:lvl1pPr>
              <a:defRPr sz="2400"/>
            </a:lvl1pPr>
          </a:lstStyle>
          <a:p>
            <a:r>
              <a:rPr lang="en-US"/>
              <a:t>Thank you!</a:t>
            </a:r>
          </a:p>
        </p:txBody>
      </p:sp>
      <p:sp>
        <p:nvSpPr>
          <p:cNvPr id="3" name="Name">
            <a:extLst>
              <a:ext uri="{FF2B5EF4-FFF2-40B4-BE49-F238E27FC236}">
                <a16:creationId xmlns:a16="http://schemas.microsoft.com/office/drawing/2014/main" id="{0B1A537D-ED77-CF4A-8ABC-E57EA11545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30362" y="1832170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irst &amp; Last Name</a:t>
            </a:r>
          </a:p>
          <a:p>
            <a:pPr lvl="0"/>
            <a:endParaRPr lang="en-US"/>
          </a:p>
        </p:txBody>
      </p:sp>
      <p:sp>
        <p:nvSpPr>
          <p:cNvPr id="18" name="Email">
            <a:extLst>
              <a:ext uri="{FF2B5EF4-FFF2-40B4-BE49-F238E27FC236}">
                <a16:creationId xmlns:a16="http://schemas.microsoft.com/office/drawing/2014/main" id="{2BDDAEAE-2FFA-BA41-B1DF-A5AA99976F7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25447" y="2389710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rstname.lastname@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Phone">
            <a:extLst>
              <a:ext uri="{FF2B5EF4-FFF2-40B4-BE49-F238E27FC236}">
                <a16:creationId xmlns:a16="http://schemas.microsoft.com/office/drawing/2014/main" id="{C34696B5-18BC-0E40-B859-7FFE6DD074D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25446" y="2949647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-xxx-</a:t>
            </a: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Linkedin">
            <a:extLst>
              <a:ext uri="{FF2B5EF4-FFF2-40B4-BE49-F238E27FC236}">
                <a16:creationId xmlns:a16="http://schemas.microsoft.com/office/drawing/2014/main" id="{A68E2290-CD3F-A942-9166-4970768A3AB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25445" y="3515794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nkedIn / xxx (your profile; optional)</a:t>
            </a:r>
          </a:p>
        </p:txBody>
      </p:sp>
      <p:sp>
        <p:nvSpPr>
          <p:cNvPr id="23" name="Website">
            <a:extLst>
              <a:ext uri="{FF2B5EF4-FFF2-40B4-BE49-F238E27FC236}">
                <a16:creationId xmlns:a16="http://schemas.microsoft.com/office/drawing/2014/main" id="{5CB2CB3A-1A4A-3E4A-B674-0CCEFE60282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25444" y="4083552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6" name="Picture 15" descr="McGraw Hill red cube Logo">
            <a:extLst>
              <a:ext uri="{FF2B5EF4-FFF2-40B4-BE49-F238E27FC236}">
                <a16:creationId xmlns:a16="http://schemas.microsoft.com/office/drawing/2014/main" id="{B4836203-0CB8-F644-8793-692AE7EC3A5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1987" y="1433834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7885566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– Text Heavy / Portrait -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9255815" y="757008"/>
            <a:ext cx="2936186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EB06EC3-1936-BF49-B989-AE8ADD23132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E3F328E6-25F0-BD44-A497-CAA2D0BA73DA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4B12A726-D813-1B48-A198-EE44A52DA9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20" name="Column 1">
            <a:extLst>
              <a:ext uri="{FF2B5EF4-FFF2-40B4-BE49-F238E27FC236}">
                <a16:creationId xmlns:a16="http://schemas.microsoft.com/office/drawing/2014/main" id="{A6CC86E6-0270-1A46-AD68-EA5815E0155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7" name="Column 2">
            <a:extLst>
              <a:ext uri="{FF2B5EF4-FFF2-40B4-BE49-F238E27FC236}">
                <a16:creationId xmlns:a16="http://schemas.microsoft.com/office/drawing/2014/main" id="{1658EE3A-E60D-054C-BC6C-D3AC430DED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7219950" y="1203325"/>
            <a:ext cx="4383088" cy="56546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96225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userDrawn="1">
          <p15:clr>
            <a:srgbClr val="FBAE40"/>
          </p15:clr>
        </p15:guide>
        <p15:guide id="7" pos="483" userDrawn="1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– Text Heavy / Portrait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A4BC28C6-8794-0A47-ABCE-C7FC96D39E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255815" y="739079"/>
            <a:ext cx="2936185" cy="612102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66A961-BB2B-B54F-BFAB-BDA9367AEDF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32427A80-5FB3-1A49-8DC5-A073AD2F5B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2734AE8A-25C0-5A40-8DCA-827143D8939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619BD590-2BD8-1345-96AC-71997DB3DC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24" name="Body Text">
            <a:extLst>
              <a:ext uri="{FF2B5EF4-FFF2-40B4-BE49-F238E27FC236}">
                <a16:creationId xmlns:a16="http://schemas.microsoft.com/office/drawing/2014/main" id="{304C3CA5-856F-2F4D-9D50-08DD3F11F8B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21" name="Column 1">
            <a:extLst>
              <a:ext uri="{FF2B5EF4-FFF2-40B4-BE49-F238E27FC236}">
                <a16:creationId xmlns:a16="http://schemas.microsoft.com/office/drawing/2014/main" id="{09D023D1-AA6B-9646-A78E-0089EAAEBF9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0" name="Column 2">
            <a:extLst>
              <a:ext uri="{FF2B5EF4-FFF2-40B4-BE49-F238E27FC236}">
                <a16:creationId xmlns:a16="http://schemas.microsoft.com/office/drawing/2014/main" id="{A028DF26-A643-9E46-88A5-7D66AB1A21F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0BC10B7E-FB9A-3449-BA9D-B470A0390DF3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219950" y="1203325"/>
            <a:ext cx="4383088" cy="56546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33568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24" userDrawn="1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2 – Text Heavy / Portrait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A4BC28C6-8794-0A47-ABCE-C7FC96D39E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255815" y="739079"/>
            <a:ext cx="2936185" cy="612102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BFB1D6C-A7E9-F346-8A13-0BCB15719D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6" name="Chapter Title">
            <a:extLst>
              <a:ext uri="{FF2B5EF4-FFF2-40B4-BE49-F238E27FC236}">
                <a16:creationId xmlns:a16="http://schemas.microsoft.com/office/drawing/2014/main" id="{D679B90A-4AB2-E64F-865B-31FA7A647B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2734AE8A-25C0-5A40-8DCA-827143D8939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5F695EBD-4DD2-D94C-8FE6-3BC8F009DD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1" name="Body Text">
            <a:extLst>
              <a:ext uri="{FF2B5EF4-FFF2-40B4-BE49-F238E27FC236}">
                <a16:creationId xmlns:a16="http://schemas.microsoft.com/office/drawing/2014/main" id="{53D7C1F0-4FF6-6146-83A3-619E9E7425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8D628D98-2995-2549-8BEB-B242D876BA3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2" name="Column 2">
            <a:extLst>
              <a:ext uri="{FF2B5EF4-FFF2-40B4-BE49-F238E27FC236}">
                <a16:creationId xmlns:a16="http://schemas.microsoft.com/office/drawing/2014/main" id="{89F8ED53-76E5-D34E-AF57-48AB3FD4503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CC836EA3-0289-2F4F-9CCE-4C8FA98EA37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219950" y="1203325"/>
            <a:ext cx="4383088" cy="56546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70775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– Text Heavy / Portrait -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F13EAB6-5661-494B-97BE-877A284174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255815" y="739079"/>
            <a:ext cx="2936185" cy="6118921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F91159E-FB61-BD47-87D0-43DD404B051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0EC23C69-26E3-854A-8AEA-45792C9D8A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3" name="Pg">
            <a:extLst>
              <a:ext uri="{FF2B5EF4-FFF2-40B4-BE49-F238E27FC236}">
                <a16:creationId xmlns:a16="http://schemas.microsoft.com/office/drawing/2014/main" id="{3E7B488B-7F58-E041-8E34-0A5108AC4422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6950784B-C4DC-1048-8DB0-FBA0B7ED9C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0" name="Body Text">
            <a:extLst>
              <a:ext uri="{FF2B5EF4-FFF2-40B4-BE49-F238E27FC236}">
                <a16:creationId xmlns:a16="http://schemas.microsoft.com/office/drawing/2014/main" id="{3C493DB4-6E5A-0A49-B823-5D376D9C9E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6" name="Column 1">
            <a:extLst>
              <a:ext uri="{FF2B5EF4-FFF2-40B4-BE49-F238E27FC236}">
                <a16:creationId xmlns:a16="http://schemas.microsoft.com/office/drawing/2014/main" id="{8328127D-150E-B44E-BC89-0FD65043CC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2" name="Column 2">
            <a:extLst>
              <a:ext uri="{FF2B5EF4-FFF2-40B4-BE49-F238E27FC236}">
                <a16:creationId xmlns:a16="http://schemas.microsoft.com/office/drawing/2014/main" id="{F6906905-9636-614B-830C-DF2EEB425E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9F580762-E4FC-D041-AD65-42DCA22C0A8F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219950" y="1203325"/>
            <a:ext cx="4383088" cy="56546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28334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5E0D79D-6B62-1B4E-A21C-A07AA43102B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D7D5D4D7-984C-A14F-BEE6-F25C950543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Display Date">
            <a:extLst>
              <a:ext uri="{FF2B5EF4-FFF2-40B4-BE49-F238E27FC236}">
                <a16:creationId xmlns:a16="http://schemas.microsoft.com/office/drawing/2014/main" id="{21B27012-3D0D-FB4F-BBD6-DB9D89F8376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5360" y="4867058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2" name="Name &amp; Surname">
            <a:extLst>
              <a:ext uri="{FF2B5EF4-FFF2-40B4-BE49-F238E27FC236}">
                <a16:creationId xmlns:a16="http://schemas.microsoft.com/office/drawing/2014/main" id="{F4DD2720-7DE1-9C4E-8E6F-F5ED11239F3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85360" y="4476825"/>
            <a:ext cx="6739878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1982DDFA-3902-F940-8095-D232FCB14CD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1724F994-0193-0545-A506-58996A8A5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3" name="Picture 12" descr="McGraw Hill red cube Logo">
            <a:extLst>
              <a:ext uri="{FF2B5EF4-FFF2-40B4-BE49-F238E27FC236}">
                <a16:creationId xmlns:a16="http://schemas.microsoft.com/office/drawing/2014/main" id="{70A3D634-4B29-4F4F-8DA3-FC1D408777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72513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– Text Heavy / Grid -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BC90947-9FBD-3B47-AE88-71E04E581357}"/>
              </a:ext>
            </a:extLst>
          </p:cNvPr>
          <p:cNvSpPr/>
          <p:nvPr userDrawn="1"/>
        </p:nvSpPr>
        <p:spPr>
          <a:xfrm>
            <a:off x="9144091" y="745340"/>
            <a:ext cx="3047910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B2C9B86-2BA7-2C49-9B52-F95410DF704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798" cy="487103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305E351-B915-BD4D-A104-CE8A78E877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9" name="Chapter Title">
            <a:extLst>
              <a:ext uri="{FF2B5EF4-FFF2-40B4-BE49-F238E27FC236}">
                <a16:creationId xmlns:a16="http://schemas.microsoft.com/office/drawing/2014/main" id="{46F47BCD-2606-6446-B953-7EA51944FC5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B9889367-1837-7547-8ADE-81B765558950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B1670CB5-F520-4F4E-9416-10F61C1776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B923205D-6211-744A-A7D6-56BDC295849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22814ED1-29B4-164D-A3B2-0C0FCADE43F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Column 2">
            <a:extLst>
              <a:ext uri="{FF2B5EF4-FFF2-40B4-BE49-F238E27FC236}">
                <a16:creationId xmlns:a16="http://schemas.microsoft.com/office/drawing/2014/main" id="{97E1AD9F-2EE3-7442-9BF2-6F9AFDC2808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78965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– Text Heavy / Grid -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BC90947-9FBD-3B47-AE88-71E04E581357}"/>
              </a:ext>
            </a:extLst>
          </p:cNvPr>
          <p:cNvSpPr/>
          <p:nvPr userDrawn="1"/>
        </p:nvSpPr>
        <p:spPr>
          <a:xfrm>
            <a:off x="9144091" y="745340"/>
            <a:ext cx="3047910" cy="61126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93E3DBC-5438-6E46-92A8-F6F9A5B2B2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799" cy="487103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BA38B5C-C304-CF4C-9CE1-76463371571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9" name="Chapter Title">
            <a:extLst>
              <a:ext uri="{FF2B5EF4-FFF2-40B4-BE49-F238E27FC236}">
                <a16:creationId xmlns:a16="http://schemas.microsoft.com/office/drawing/2014/main" id="{9E4B0D1D-604E-5845-A559-76143769A4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0B370684-59CB-9D48-9E3B-4A19CF85F578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CBEA7924-9977-A944-8820-5611CD6A14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E9167E63-18F2-B54A-93ED-51E4F364ED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9D45D5EF-D30C-1D4E-8C2E-CA2D9F7AD45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Column 2">
            <a:extLst>
              <a:ext uri="{FF2B5EF4-FFF2-40B4-BE49-F238E27FC236}">
                <a16:creationId xmlns:a16="http://schemas.microsoft.com/office/drawing/2014/main" id="{364274DE-F93B-234F-80D3-BADE92110F0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69015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– Text Heavy / Grid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BC90947-9FBD-3B47-AE88-71E04E581357}"/>
              </a:ext>
            </a:extLst>
          </p:cNvPr>
          <p:cNvSpPr/>
          <p:nvPr userDrawn="1"/>
        </p:nvSpPr>
        <p:spPr>
          <a:xfrm>
            <a:off x="9144091" y="745340"/>
            <a:ext cx="3047910" cy="6112660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952B30F-DA32-BD48-A150-841D2CC2002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800" cy="487103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FC14102-5D1F-CC47-96A6-0F8B125B3B1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9" name="Chapter Title">
            <a:extLst>
              <a:ext uri="{FF2B5EF4-FFF2-40B4-BE49-F238E27FC236}">
                <a16:creationId xmlns:a16="http://schemas.microsoft.com/office/drawing/2014/main" id="{FE7CC563-C876-8D49-9C67-CE4C3C65E6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30E17DB6-2150-0D46-8340-D3581FF40EC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4DD5738-B9A4-D446-8B86-A0199FBA6D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31A62204-B7CF-0F47-9302-76117502529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C4D93840-F4DD-B843-BC4B-8AF7F98AB0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Column 2">
            <a:extLst>
              <a:ext uri="{FF2B5EF4-FFF2-40B4-BE49-F238E27FC236}">
                <a16:creationId xmlns:a16="http://schemas.microsoft.com/office/drawing/2014/main" id="{A2CB17AE-D121-8144-B913-2A0997DF2C7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7506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 – Text Heavy / Arrow - L. H.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6" name="Group 55">
            <a:extLst>
              <a:ext uri="{FF2B5EF4-FFF2-40B4-BE49-F238E27FC236}">
                <a16:creationId xmlns:a16="http://schemas.microsoft.com/office/drawing/2014/main" id="{5177BBD6-89E5-8A4C-A618-63E9F5266BD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3447" y="1205031"/>
            <a:ext cx="11908923" cy="5164009"/>
            <a:chOff x="-13447" y="1205031"/>
            <a:chExt cx="11908923" cy="5164009"/>
          </a:xfrm>
        </p:grpSpPr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8A07E183-013B-4343-998D-88050E602673}"/>
                </a:ext>
              </a:extLst>
            </p:cNvPr>
            <p:cNvGrpSpPr/>
            <p:nvPr userDrawn="1"/>
          </p:nvGrpSpPr>
          <p:grpSpPr>
            <a:xfrm>
              <a:off x="10799406" y="1609994"/>
              <a:ext cx="1096070" cy="200297"/>
              <a:chOff x="10799406" y="1609994"/>
              <a:chExt cx="1096070" cy="200297"/>
            </a:xfrm>
          </p:grpSpPr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6128CCC9-E183-EB47-863F-66E818DAF996}"/>
                  </a:ext>
                </a:extLst>
              </p:cNvPr>
              <p:cNvSpPr/>
              <p:nvPr userDrawn="1"/>
            </p:nvSpPr>
            <p:spPr>
              <a:xfrm rot="18900000">
                <a:off x="10799406" y="1609994"/>
                <a:ext cx="1013101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BE3AC1E5-E15F-2140-9827-AA174AFAE02C}"/>
                  </a:ext>
                </a:extLst>
              </p:cNvPr>
              <p:cNvSpPr/>
              <p:nvPr userDrawn="1"/>
            </p:nvSpPr>
            <p:spPr>
              <a:xfrm rot="18900000">
                <a:off x="10879377" y="1693580"/>
                <a:ext cx="1016099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90780782-1930-9744-964A-B91E28E603A0}"/>
                </a:ext>
              </a:extLst>
            </p:cNvPr>
            <p:cNvGrpSpPr/>
            <p:nvPr userDrawn="1"/>
          </p:nvGrpSpPr>
          <p:grpSpPr>
            <a:xfrm>
              <a:off x="10894136" y="1205031"/>
              <a:ext cx="940179" cy="935947"/>
              <a:chOff x="10894136" y="1205031"/>
              <a:chExt cx="940179" cy="935947"/>
            </a:xfrm>
          </p:grpSpPr>
          <p:grpSp>
            <p:nvGrpSpPr>
              <p:cNvPr id="38" name="Group 37">
                <a:extLst>
                  <a:ext uri="{FF2B5EF4-FFF2-40B4-BE49-F238E27FC236}">
                    <a16:creationId xmlns:a16="http://schemas.microsoft.com/office/drawing/2014/main" id="{45EC1281-6FEB-A14E-8D42-5C0399A71E23}"/>
                  </a:ext>
                </a:extLst>
              </p:cNvPr>
              <p:cNvGrpSpPr/>
              <p:nvPr userDrawn="1"/>
            </p:nvGrpSpPr>
            <p:grpSpPr>
              <a:xfrm>
                <a:off x="10896080" y="1205031"/>
                <a:ext cx="938235" cy="929262"/>
                <a:chOff x="3969603" y="2167014"/>
                <a:chExt cx="929262" cy="929262"/>
              </a:xfrm>
              <a:solidFill>
                <a:srgbClr val="E3B9FC"/>
              </a:solidFill>
            </p:grpSpPr>
            <p:sp>
              <p:nvSpPr>
                <p:cNvPr id="47" name="Parallelogram 46">
                  <a:extLst>
                    <a:ext uri="{FF2B5EF4-FFF2-40B4-BE49-F238E27FC236}">
                      <a16:creationId xmlns:a16="http://schemas.microsoft.com/office/drawing/2014/main" id="{7D96E391-66F0-0645-9D24-AEA901FA1B2B}"/>
                    </a:ext>
                  </a:extLst>
                </p:cNvPr>
                <p:cNvSpPr/>
                <p:nvPr userDrawn="1"/>
              </p:nvSpPr>
              <p:spPr>
                <a:xfrm>
                  <a:off x="3969603" y="2168473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8" name="Parallelogram 47">
                  <a:extLst>
                    <a:ext uri="{FF2B5EF4-FFF2-40B4-BE49-F238E27FC236}">
                      <a16:creationId xmlns:a16="http://schemas.microsoft.com/office/drawing/2014/main" id="{0B1B1425-47C9-7C46-926A-21890752B4CD}"/>
                    </a:ext>
                  </a:extLst>
                </p:cNvPr>
                <p:cNvSpPr/>
                <p:nvPr userDrawn="1"/>
              </p:nvSpPr>
              <p:spPr>
                <a:xfrm rot="5400000" flipH="1">
                  <a:off x="4321438" y="2518849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39" name="Group 38">
                <a:extLst>
                  <a:ext uri="{FF2B5EF4-FFF2-40B4-BE49-F238E27FC236}">
                    <a16:creationId xmlns:a16="http://schemas.microsoft.com/office/drawing/2014/main" id="{5195C950-E43E-BE48-8808-D0948E9FAB67}"/>
                  </a:ext>
                </a:extLst>
              </p:cNvPr>
              <p:cNvGrpSpPr/>
              <p:nvPr userDrawn="1"/>
            </p:nvGrpSpPr>
            <p:grpSpPr>
              <a:xfrm>
                <a:off x="10894136" y="1318957"/>
                <a:ext cx="831297" cy="822021"/>
                <a:chOff x="3966636" y="2277354"/>
                <a:chExt cx="823347" cy="822021"/>
              </a:xfrm>
              <a:solidFill>
                <a:srgbClr val="06235B"/>
              </a:solidFill>
            </p:grpSpPr>
            <p:sp>
              <p:nvSpPr>
                <p:cNvPr id="45" name="Parallelogram 61">
                  <a:extLst>
                    <a:ext uri="{FF2B5EF4-FFF2-40B4-BE49-F238E27FC236}">
                      <a16:creationId xmlns:a16="http://schemas.microsoft.com/office/drawing/2014/main" id="{9DCC372B-6B4D-924C-A629-07FA51756A14}"/>
                    </a:ext>
                  </a:extLst>
                </p:cNvPr>
                <p:cNvSpPr/>
                <p:nvPr userDrawn="1"/>
              </p:nvSpPr>
              <p:spPr>
                <a:xfrm>
                  <a:off x="3966636" y="2277354"/>
                  <a:ext cx="821312" cy="119886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19886">
                      <a:moveTo>
                        <a:pt x="0" y="119886"/>
                      </a:moveTo>
                      <a:lnTo>
                        <a:pt x="112441" y="3175"/>
                      </a:lnTo>
                      <a:lnTo>
                        <a:pt x="821312" y="0"/>
                      </a:lnTo>
                      <a:lnTo>
                        <a:pt x="708871" y="116711"/>
                      </a:lnTo>
                      <a:lnTo>
                        <a:pt x="0" y="119886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6" name="Parallelogram 61">
                  <a:extLst>
                    <a:ext uri="{FF2B5EF4-FFF2-40B4-BE49-F238E27FC236}">
                      <a16:creationId xmlns:a16="http://schemas.microsoft.com/office/drawing/2014/main" id="{C32C7223-D73E-5F40-B470-48EB281F38CE}"/>
                    </a:ext>
                  </a:extLst>
                </p:cNvPr>
                <p:cNvSpPr/>
                <p:nvPr userDrawn="1"/>
              </p:nvSpPr>
              <p:spPr>
                <a:xfrm rot="16200000" flipH="1">
                  <a:off x="4317797" y="2627188"/>
                  <a:ext cx="821312" cy="123061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8791 w 821312"/>
                    <a:gd name="connsiteY1" fmla="*/ 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23061 h 123061"/>
                    <a:gd name="connsiteX1" fmla="*/ 64816 w 821312"/>
                    <a:gd name="connsiteY1" fmla="*/ 0 h 123061"/>
                    <a:gd name="connsiteX2" fmla="*/ 821312 w 821312"/>
                    <a:gd name="connsiteY2" fmla="*/ 3175 h 123061"/>
                    <a:gd name="connsiteX3" fmla="*/ 708871 w 821312"/>
                    <a:gd name="connsiteY3" fmla="*/ 119886 h 123061"/>
                    <a:gd name="connsiteX4" fmla="*/ 0 w 821312"/>
                    <a:gd name="connsiteY4" fmla="*/ 123061 h 1230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23061">
                      <a:moveTo>
                        <a:pt x="0" y="123061"/>
                      </a:moveTo>
                      <a:lnTo>
                        <a:pt x="64816" y="0"/>
                      </a:lnTo>
                      <a:lnTo>
                        <a:pt x="821312" y="3175"/>
                      </a:lnTo>
                      <a:lnTo>
                        <a:pt x="708871" y="119886"/>
                      </a:lnTo>
                      <a:lnTo>
                        <a:pt x="0" y="123061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3B25C319-2990-5F44-9E6C-9230EDFA1D64}"/>
                </a:ext>
              </a:extLst>
            </p:cNvPr>
            <p:cNvGrpSpPr/>
            <p:nvPr userDrawn="1"/>
          </p:nvGrpSpPr>
          <p:grpSpPr>
            <a:xfrm>
              <a:off x="-13447" y="6149065"/>
              <a:ext cx="11072003" cy="219975"/>
              <a:chOff x="-13447" y="6149065"/>
              <a:chExt cx="11072003" cy="219975"/>
            </a:xfrm>
          </p:grpSpPr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05832D2A-E5F4-3147-B1F2-0F66239A3AFE}"/>
                  </a:ext>
                </a:extLst>
              </p:cNvPr>
              <p:cNvSpPr/>
              <p:nvPr userDrawn="1"/>
            </p:nvSpPr>
            <p:spPr>
              <a:xfrm>
                <a:off x="-13446" y="6149065"/>
                <a:ext cx="11021108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71BE06FC-1F60-7648-8CD3-2993C5D1A6AB}"/>
                  </a:ext>
                </a:extLst>
              </p:cNvPr>
              <p:cNvSpPr/>
              <p:nvPr userDrawn="1"/>
            </p:nvSpPr>
            <p:spPr>
              <a:xfrm>
                <a:off x="-13447" y="6252329"/>
                <a:ext cx="11072003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E7E466A8-3EE2-8347-9B9C-FE56409F0248}"/>
                </a:ext>
              </a:extLst>
            </p:cNvPr>
            <p:cNvGrpSpPr/>
            <p:nvPr userDrawn="1"/>
          </p:nvGrpSpPr>
          <p:grpSpPr>
            <a:xfrm>
              <a:off x="10905626" y="1984376"/>
              <a:ext cx="221104" cy="4371214"/>
              <a:chOff x="10905626" y="1984376"/>
              <a:chExt cx="221104" cy="4371214"/>
            </a:xfrm>
          </p:grpSpPr>
          <p:sp>
            <p:nvSpPr>
              <p:cNvPr id="51" name="Rectangle 50">
                <a:extLst>
                  <a:ext uri="{FF2B5EF4-FFF2-40B4-BE49-F238E27FC236}">
                    <a16:creationId xmlns:a16="http://schemas.microsoft.com/office/drawing/2014/main" id="{CB74D01D-AF7D-F546-9D97-25EB36CB7AB2}"/>
                  </a:ext>
                </a:extLst>
              </p:cNvPr>
              <p:cNvSpPr/>
              <p:nvPr userDrawn="1"/>
            </p:nvSpPr>
            <p:spPr>
              <a:xfrm rot="16200000">
                <a:off x="8837278" y="4052724"/>
                <a:ext cx="4254534" cy="117838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2" name="Rectangle 51">
                <a:extLst>
                  <a:ext uri="{FF2B5EF4-FFF2-40B4-BE49-F238E27FC236}">
                    <a16:creationId xmlns:a16="http://schemas.microsoft.com/office/drawing/2014/main" id="{FDE4EF2A-625F-DE47-B16E-96317A6EF3C6}"/>
                  </a:ext>
                </a:extLst>
              </p:cNvPr>
              <p:cNvSpPr/>
              <p:nvPr userDrawn="1"/>
            </p:nvSpPr>
            <p:spPr>
              <a:xfrm rot="16200000">
                <a:off x="8907603" y="4136464"/>
                <a:ext cx="4320415" cy="117838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399DEEC-FB65-6B40-99C0-B38B502ABA3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8" name="Chapter Title">
            <a:extLst>
              <a:ext uri="{FF2B5EF4-FFF2-40B4-BE49-F238E27FC236}">
                <a16:creationId xmlns:a16="http://schemas.microsoft.com/office/drawing/2014/main" id="{43C2F540-BC4F-4F4B-A13F-64EFF4C3B6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9" name="Pg">
            <a:extLst>
              <a:ext uri="{FF2B5EF4-FFF2-40B4-BE49-F238E27FC236}">
                <a16:creationId xmlns:a16="http://schemas.microsoft.com/office/drawing/2014/main" id="{A8099171-5756-5C41-97AC-1AFF8DDD9B63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CE4F8156-A223-6D49-A819-DDA0DC712A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26" name="Column 1">
            <a:extLst>
              <a:ext uri="{FF2B5EF4-FFF2-40B4-BE49-F238E27FC236}">
                <a16:creationId xmlns:a16="http://schemas.microsoft.com/office/drawing/2014/main" id="{D0E48077-2819-8A49-A05C-6703D2804F9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34" y="1736496"/>
            <a:ext cx="3201988" cy="43740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r>
              <a:rPr lang="en-US" b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/>
              <a:t>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  <a:p>
            <a:pPr lvl="0"/>
            <a:endParaRPr lang="en-US"/>
          </a:p>
        </p:txBody>
      </p:sp>
      <p:sp>
        <p:nvSpPr>
          <p:cNvPr id="30" name="Column 2">
            <a:extLst>
              <a:ext uri="{FF2B5EF4-FFF2-40B4-BE49-F238E27FC236}">
                <a16:creationId xmlns:a16="http://schemas.microsoft.com/office/drawing/2014/main" id="{92FCC806-979D-BB45-BD58-D2DFE35FAE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99078" y="1738591"/>
            <a:ext cx="6053560" cy="4168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lacini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, convallis a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ell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raesen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mass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convallis 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ellentesqu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sta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non nis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lementu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du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urbi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rcu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ccumsa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imperdi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et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at sem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18567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 – Text Heavy / Arrow -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>
            <a:extLst>
              <a:ext uri="{FF2B5EF4-FFF2-40B4-BE49-F238E27FC236}">
                <a16:creationId xmlns:a16="http://schemas.microsoft.com/office/drawing/2014/main" id="{7F32332A-D1E5-0344-8F4A-15782F24E2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1205032"/>
            <a:ext cx="11851251" cy="5142543"/>
            <a:chOff x="-14169" y="507347"/>
            <a:chExt cx="11851251" cy="5142543"/>
          </a:xfrm>
          <a:solidFill>
            <a:schemeClr val="accent1"/>
          </a:solidFill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5D639499-1066-AF40-AE90-26A09D51A0AE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941F98C-5BFA-6740-9613-30D0EA32ABE5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A82A5495-6A16-7E4F-A10F-15796EDFE106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grpFill/>
          </p:grpSpPr>
          <p:sp>
            <p:nvSpPr>
              <p:cNvPr id="18" name="Parallelogram 17">
                <a:extLst>
                  <a:ext uri="{FF2B5EF4-FFF2-40B4-BE49-F238E27FC236}">
                    <a16:creationId xmlns:a16="http://schemas.microsoft.com/office/drawing/2014/main" id="{621988DE-95DC-EE45-B046-15D64BBAD7B4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9" name="Parallelogram 18">
                <a:extLst>
                  <a:ext uri="{FF2B5EF4-FFF2-40B4-BE49-F238E27FC236}">
                    <a16:creationId xmlns:a16="http://schemas.microsoft.com/office/drawing/2014/main" id="{8C4E5648-7B44-9343-B639-CE2FCAA69CE2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86DBC325-AACD-E348-B1CE-AA37A6B0B9CF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7360358-6D06-CC44-8D16-DB5DC58495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0" name="Chapter Title">
            <a:extLst>
              <a:ext uri="{FF2B5EF4-FFF2-40B4-BE49-F238E27FC236}">
                <a16:creationId xmlns:a16="http://schemas.microsoft.com/office/drawing/2014/main" id="{7C7FF68D-EE65-2F48-93AE-190A7B1020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3" name="Pg">
            <a:extLst>
              <a:ext uri="{FF2B5EF4-FFF2-40B4-BE49-F238E27FC236}">
                <a16:creationId xmlns:a16="http://schemas.microsoft.com/office/drawing/2014/main" id="{74E3B440-1518-AF4D-8F84-A9675B04F0A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3612D239-8581-4C4B-90B8-B54512088E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7" name="Column 1">
            <a:extLst>
              <a:ext uri="{FF2B5EF4-FFF2-40B4-BE49-F238E27FC236}">
                <a16:creationId xmlns:a16="http://schemas.microsoft.com/office/drawing/2014/main" id="{599A04D7-A149-394C-B40F-92490463FE9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34" y="1736496"/>
            <a:ext cx="3201988" cy="43740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r>
              <a:rPr lang="en-US" b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/>
              <a:t>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  <a:p>
            <a:pPr lvl="0"/>
            <a:endParaRPr lang="en-US"/>
          </a:p>
        </p:txBody>
      </p:sp>
      <p:sp>
        <p:nvSpPr>
          <p:cNvPr id="12" name="Column 2">
            <a:extLst>
              <a:ext uri="{FF2B5EF4-FFF2-40B4-BE49-F238E27FC236}">
                <a16:creationId xmlns:a16="http://schemas.microsoft.com/office/drawing/2014/main" id="{F5F1C930-B750-C841-B8C0-548499F4AFC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99078" y="1738591"/>
            <a:ext cx="6053560" cy="4168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lacini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, convallis a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ell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raesen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mass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convallis 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ellentesqu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sta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non nis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lementu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du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urbi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rcu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ccumsa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imperdi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et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at sem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40706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200" userDrawn="1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 – Text Heavy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hapter Title">
            <a:extLst>
              <a:ext uri="{FF2B5EF4-FFF2-40B4-BE49-F238E27FC236}">
                <a16:creationId xmlns:a16="http://schemas.microsoft.com/office/drawing/2014/main" id="{6270A90D-500C-E74E-8060-95448D45EE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47549A0-DD2F-6C43-86AE-FF641D1700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Pg">
            <a:extLst>
              <a:ext uri="{FF2B5EF4-FFF2-40B4-BE49-F238E27FC236}">
                <a16:creationId xmlns:a16="http://schemas.microsoft.com/office/drawing/2014/main" id="{BF1DBC1E-7F69-B843-B19E-79A078D9478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AF4E5FD-8EB6-BE45-B712-8F1275A7C8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Column 1">
            <a:extLst>
              <a:ext uri="{FF2B5EF4-FFF2-40B4-BE49-F238E27FC236}">
                <a16:creationId xmlns:a16="http://schemas.microsoft.com/office/drawing/2014/main" id="{D98A9DBF-922D-A54A-AEA9-91C2162DC5F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34" y="1736496"/>
            <a:ext cx="3201988" cy="43740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r>
              <a:rPr lang="en-US" b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/>
              <a:t>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  <a:p>
            <a:pPr lvl="0"/>
            <a:endParaRPr lang="en-US"/>
          </a:p>
        </p:txBody>
      </p:sp>
      <p:sp>
        <p:nvSpPr>
          <p:cNvPr id="16" name="Column 2">
            <a:extLst>
              <a:ext uri="{FF2B5EF4-FFF2-40B4-BE49-F238E27FC236}">
                <a16:creationId xmlns:a16="http://schemas.microsoft.com/office/drawing/2014/main" id="{6F862A84-E061-8143-BCE7-4C9B9A9B5E5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99078" y="1738591"/>
            <a:ext cx="6053560" cy="4168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lacini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, convallis a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ell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raesen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mass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convallis 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ellentesqu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sta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non nis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lementu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du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urbi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rcu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ccumsa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imperdi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et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at sem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14959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3336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 - Pie Chart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6648C4D-D816-204A-B723-761FDB2941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0" name="Chapter Title">
            <a:extLst>
              <a:ext uri="{FF2B5EF4-FFF2-40B4-BE49-F238E27FC236}">
                <a16:creationId xmlns:a16="http://schemas.microsoft.com/office/drawing/2014/main" id="{53281EAB-F476-BB40-9FAD-E65D90D2C3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7390110-5AD8-874C-AE1F-E0FB2ECFB949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0C5A7534-3DAA-9741-9B2A-18B0C4851A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16832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7" name="Subtitle">
            <a:extLst>
              <a:ext uri="{FF2B5EF4-FFF2-40B4-BE49-F238E27FC236}">
                <a16:creationId xmlns:a16="http://schemas.microsoft.com/office/drawing/2014/main" id="{12A4A311-C970-5B47-B8B4-279475D8343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6552" y="2064520"/>
            <a:ext cx="4222331" cy="34348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Chart Heading Title Case</a:t>
            </a:r>
          </a:p>
          <a:p>
            <a:pPr lvl="0"/>
            <a:endParaRPr lang="en-US"/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94A1DD1E-0FD4-334D-AC0E-B10F7CCB6E2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2595" y="2898212"/>
            <a:ext cx="4603750" cy="345146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</a:t>
            </a:r>
            <a:r>
              <a:rPr lang="en-US"/>
              <a:t> </a:t>
            </a:r>
            <a:r>
              <a:rPr lang="en-US" err="1"/>
              <a:t>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.</a:t>
            </a:r>
          </a:p>
          <a:p>
            <a:pPr lvl="0"/>
            <a:r>
              <a:rPr lang="en-US" err="1"/>
              <a:t>Elitsed</a:t>
            </a:r>
            <a:r>
              <a:rPr lang="en-US"/>
              <a:t> diam </a:t>
            </a:r>
            <a:r>
              <a:rPr lang="en-US" err="1"/>
              <a:t>nonumm</a:t>
            </a:r>
            <a:r>
              <a:rPr lang="en-US"/>
              <a:t> </a:t>
            </a:r>
            <a:r>
              <a:rPr lang="en-US" err="1"/>
              <a:t>y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</a:t>
            </a:r>
            <a:r>
              <a:rPr lang="en-US"/>
              <a:t> </a:t>
            </a:r>
            <a:r>
              <a:rPr lang="en-US" err="1"/>
              <a:t>ter</a:t>
            </a:r>
            <a:r>
              <a:rPr lang="en-US"/>
              <a:t> pat dolore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</a:t>
            </a:r>
            <a:r>
              <a:rPr lang="en-US"/>
              <a:t> </a:t>
            </a:r>
            <a:r>
              <a:rPr lang="en-US" err="1"/>
              <a:t>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7301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152" userDrawn="1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 - Line Char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0979F1B-0C1D-4D46-9688-E70042C91F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9" name="Chapter Title">
            <a:extLst>
              <a:ext uri="{FF2B5EF4-FFF2-40B4-BE49-F238E27FC236}">
                <a16:creationId xmlns:a16="http://schemas.microsoft.com/office/drawing/2014/main" id="{B60AC181-A0E8-C848-B86F-709FE51408B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41195C8-73CD-0C40-992D-0CA71CE3F51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C5E5542-63AF-264A-9B02-20F2AE5C86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3" y="1042826"/>
            <a:ext cx="4290529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18804494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 - Snake Diagram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F873E0C-0627-D042-9703-1082CC31C9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5" name="Chapter Title">
            <a:extLst>
              <a:ext uri="{FF2B5EF4-FFF2-40B4-BE49-F238E27FC236}">
                <a16:creationId xmlns:a16="http://schemas.microsoft.com/office/drawing/2014/main" id="{442212F1-2279-1344-BAF9-2D55C3372D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8" name="Pg">
            <a:extLst>
              <a:ext uri="{FF2B5EF4-FFF2-40B4-BE49-F238E27FC236}">
                <a16:creationId xmlns:a16="http://schemas.microsoft.com/office/drawing/2014/main" id="{A41195C8-73CD-0C40-992D-0CA71CE3F51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2EAAC9DE-6713-2148-84D1-A07827E478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168329"/>
            <a:ext cx="431137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6" name="Subtitle 1">
            <a:extLst>
              <a:ext uri="{FF2B5EF4-FFF2-40B4-BE49-F238E27FC236}">
                <a16:creationId xmlns:a16="http://schemas.microsoft.com/office/drawing/2014/main" id="{8AE632E4-8081-4C4C-93AA-8BA65412F71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2522" y="3249621"/>
            <a:ext cx="2357509" cy="2937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9" name="Column 1">
            <a:extLst>
              <a:ext uri="{FF2B5EF4-FFF2-40B4-BE49-F238E27FC236}">
                <a16:creationId xmlns:a16="http://schemas.microsoft.com/office/drawing/2014/main" id="{F485FDB3-B021-C94D-B1BF-23D048DEBF0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7994" y="3797804"/>
            <a:ext cx="2458491" cy="268093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dolore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50" name="Subtitle 2">
            <a:extLst>
              <a:ext uri="{FF2B5EF4-FFF2-40B4-BE49-F238E27FC236}">
                <a16:creationId xmlns:a16="http://schemas.microsoft.com/office/drawing/2014/main" id="{736B6D3D-9619-D84B-95A2-F3E1C1AC6D3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97417" y="3237429"/>
            <a:ext cx="2357509" cy="2937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51" name="Column 2">
            <a:extLst>
              <a:ext uri="{FF2B5EF4-FFF2-40B4-BE49-F238E27FC236}">
                <a16:creationId xmlns:a16="http://schemas.microsoft.com/office/drawing/2014/main" id="{33CFB3D8-4385-F845-A13A-64C1CF86398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432889" y="3797804"/>
            <a:ext cx="2458491" cy="268093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dolore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54" name="Subtitle 3">
            <a:extLst>
              <a:ext uri="{FF2B5EF4-FFF2-40B4-BE49-F238E27FC236}">
                <a16:creationId xmlns:a16="http://schemas.microsoft.com/office/drawing/2014/main" id="{BE099D4A-DC27-5241-986A-5206F128171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87928" y="3237763"/>
            <a:ext cx="2357509" cy="2937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55" name="Column 3">
            <a:extLst>
              <a:ext uri="{FF2B5EF4-FFF2-40B4-BE49-F238E27FC236}">
                <a16:creationId xmlns:a16="http://schemas.microsoft.com/office/drawing/2014/main" id="{3FB1514F-7252-9A47-9F31-9DF3A0FDA31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23400" y="3797804"/>
            <a:ext cx="2458491" cy="268093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dolore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56" name="Subtitle 4">
            <a:extLst>
              <a:ext uri="{FF2B5EF4-FFF2-40B4-BE49-F238E27FC236}">
                <a16:creationId xmlns:a16="http://schemas.microsoft.com/office/drawing/2014/main" id="{36EF0826-D37B-ED42-A4D1-0E9D953AC1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778439" y="3237429"/>
            <a:ext cx="2357509" cy="2937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57" name="Column 4">
            <a:extLst>
              <a:ext uri="{FF2B5EF4-FFF2-40B4-BE49-F238E27FC236}">
                <a16:creationId xmlns:a16="http://schemas.microsoft.com/office/drawing/2014/main" id="{CB5A08EF-59FA-A34E-A79B-E69C2515DB8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813911" y="3797804"/>
            <a:ext cx="2458491" cy="268093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dolore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38171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 - Double Snake Diagram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010714B-F67D-BB4E-BD72-F5575995A6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4" name="Chapter Title">
            <a:extLst>
              <a:ext uri="{FF2B5EF4-FFF2-40B4-BE49-F238E27FC236}">
                <a16:creationId xmlns:a16="http://schemas.microsoft.com/office/drawing/2014/main" id="{355C42A9-CCA2-A241-8EFB-F2646A84761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8" name="Pg">
            <a:extLst>
              <a:ext uri="{FF2B5EF4-FFF2-40B4-BE49-F238E27FC236}">
                <a16:creationId xmlns:a16="http://schemas.microsoft.com/office/drawing/2014/main" id="{A41195C8-73CD-0C40-992D-0CA71CE3F51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98F93229-4B98-4D48-95A2-B2901D647C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168329"/>
            <a:ext cx="431137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49" name="1">
            <a:extLst>
              <a:ext uri="{FF2B5EF4-FFF2-40B4-BE49-F238E27FC236}">
                <a16:creationId xmlns:a16="http://schemas.microsoft.com/office/drawing/2014/main" id="{F485FDB3-B021-C94D-B1BF-23D048DEBF0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94462" y="3222790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36" name="2">
            <a:extLst>
              <a:ext uri="{FF2B5EF4-FFF2-40B4-BE49-F238E27FC236}">
                <a16:creationId xmlns:a16="http://schemas.microsoft.com/office/drawing/2014/main" id="{D17D20DF-7F50-7847-AA55-BE4484E3669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42219" y="3222790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37" name="3">
            <a:extLst>
              <a:ext uri="{FF2B5EF4-FFF2-40B4-BE49-F238E27FC236}">
                <a16:creationId xmlns:a16="http://schemas.microsoft.com/office/drawing/2014/main" id="{FEED5375-BE04-DD48-860C-ADC9A4187CE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789976" y="3222790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38" name="4">
            <a:extLst>
              <a:ext uri="{FF2B5EF4-FFF2-40B4-BE49-F238E27FC236}">
                <a16:creationId xmlns:a16="http://schemas.microsoft.com/office/drawing/2014/main" id="{D3C9ED7B-28DB-214B-B183-0B2D936B682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337733" y="3222790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39" name="5">
            <a:extLst>
              <a:ext uri="{FF2B5EF4-FFF2-40B4-BE49-F238E27FC236}">
                <a16:creationId xmlns:a16="http://schemas.microsoft.com/office/drawing/2014/main" id="{836F4DC2-D0EF-D54B-863B-E592B01A8A9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94462" y="5346592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40" name="6">
            <a:extLst>
              <a:ext uri="{FF2B5EF4-FFF2-40B4-BE49-F238E27FC236}">
                <a16:creationId xmlns:a16="http://schemas.microsoft.com/office/drawing/2014/main" id="{AF98966C-9920-C44A-A83D-2612A077A86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242219" y="5346592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41" name="7">
            <a:extLst>
              <a:ext uri="{FF2B5EF4-FFF2-40B4-BE49-F238E27FC236}">
                <a16:creationId xmlns:a16="http://schemas.microsoft.com/office/drawing/2014/main" id="{D1984EE8-D54B-A744-A37B-DEBCFC6007E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789976" y="5346592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42" name="8">
            <a:extLst>
              <a:ext uri="{FF2B5EF4-FFF2-40B4-BE49-F238E27FC236}">
                <a16:creationId xmlns:a16="http://schemas.microsoft.com/office/drawing/2014/main" id="{7B40AD15-439C-BA4F-9047-4B8A86FDFB7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337733" y="5346592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09112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VIOLE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3ECD4933-6BE6-E603-C835-4A8D8C73725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D7D5D4D7-984C-A14F-BEE6-F25C950543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Display Date">
            <a:extLst>
              <a:ext uri="{FF2B5EF4-FFF2-40B4-BE49-F238E27FC236}">
                <a16:creationId xmlns:a16="http://schemas.microsoft.com/office/drawing/2014/main" id="{21B27012-3D0D-FB4F-BBD6-DB9D89F8376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5360" y="4867058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2" name="Name &amp; Surname">
            <a:extLst>
              <a:ext uri="{FF2B5EF4-FFF2-40B4-BE49-F238E27FC236}">
                <a16:creationId xmlns:a16="http://schemas.microsoft.com/office/drawing/2014/main" id="{F4DD2720-7DE1-9C4E-8E6F-F5ED11239F3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85360" y="4476825"/>
            <a:ext cx="6739878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1982DDFA-3902-F940-8095-D232FCB14CD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1724F994-0193-0545-A506-58996A8A5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3" name="Picture 12" descr="McGraw Hill red cube Logo">
            <a:extLst>
              <a:ext uri="{FF2B5EF4-FFF2-40B4-BE49-F238E27FC236}">
                <a16:creationId xmlns:a16="http://schemas.microsoft.com/office/drawing/2014/main" id="{70A3D634-4B29-4F4F-8DA3-FC1D408777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51506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 - Graph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7E5B97-5140-1342-B6ED-D224671367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0" name="Chapter Title">
            <a:extLst>
              <a:ext uri="{FF2B5EF4-FFF2-40B4-BE49-F238E27FC236}">
                <a16:creationId xmlns:a16="http://schemas.microsoft.com/office/drawing/2014/main" id="{D17B5A40-4A38-5248-B89D-84C868D1FAF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8" name="Pg">
            <a:extLst>
              <a:ext uri="{FF2B5EF4-FFF2-40B4-BE49-F238E27FC236}">
                <a16:creationId xmlns:a16="http://schemas.microsoft.com/office/drawing/2014/main" id="{A41195C8-73CD-0C40-992D-0CA71CE3F51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F0F2683A-ECA5-9C4E-BF91-067F9FA63B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168329"/>
            <a:ext cx="431137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6" name="1">
            <a:extLst>
              <a:ext uri="{FF2B5EF4-FFF2-40B4-BE49-F238E27FC236}">
                <a16:creationId xmlns:a16="http://schemas.microsoft.com/office/drawing/2014/main" id="{6877937D-3DA9-CD4C-8F73-B4C57F6B89D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332054" y="2482859"/>
            <a:ext cx="636587" cy="46797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30" name="1 Copy">
            <a:extLst>
              <a:ext uri="{FF2B5EF4-FFF2-40B4-BE49-F238E27FC236}">
                <a16:creationId xmlns:a16="http://schemas.microsoft.com/office/drawing/2014/main" id="{45956B13-ADB8-FB42-9D61-09349424315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968641" y="2440890"/>
            <a:ext cx="2487856" cy="4585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4" name="2">
            <a:extLst>
              <a:ext uri="{FF2B5EF4-FFF2-40B4-BE49-F238E27FC236}">
                <a16:creationId xmlns:a16="http://schemas.microsoft.com/office/drawing/2014/main" id="{BEE0936E-7081-7D41-B93D-0E5933D3FD9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349830" y="3075158"/>
            <a:ext cx="636587" cy="46797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31" name="2 Copy">
            <a:extLst>
              <a:ext uri="{FF2B5EF4-FFF2-40B4-BE49-F238E27FC236}">
                <a16:creationId xmlns:a16="http://schemas.microsoft.com/office/drawing/2014/main" id="{DBCBFBE9-4518-D945-963C-3573703678A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968641" y="3038674"/>
            <a:ext cx="2487856" cy="4585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5" name="3">
            <a:extLst>
              <a:ext uri="{FF2B5EF4-FFF2-40B4-BE49-F238E27FC236}">
                <a16:creationId xmlns:a16="http://schemas.microsoft.com/office/drawing/2014/main" id="{49567076-20B4-3642-8E2F-792E66F7EF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340470" y="3660178"/>
            <a:ext cx="636587" cy="46797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32" name="3 Copy">
            <a:extLst>
              <a:ext uri="{FF2B5EF4-FFF2-40B4-BE49-F238E27FC236}">
                <a16:creationId xmlns:a16="http://schemas.microsoft.com/office/drawing/2014/main" id="{689E5928-A1E4-6243-A711-E0A1F28C3DC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968641" y="3636458"/>
            <a:ext cx="2487856" cy="4585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6" name="4">
            <a:extLst>
              <a:ext uri="{FF2B5EF4-FFF2-40B4-BE49-F238E27FC236}">
                <a16:creationId xmlns:a16="http://schemas.microsoft.com/office/drawing/2014/main" id="{A286B0CE-7439-0843-88F7-DD73DB90341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360586" y="4281061"/>
            <a:ext cx="636587" cy="46797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33" name="4 Copy">
            <a:extLst>
              <a:ext uri="{FF2B5EF4-FFF2-40B4-BE49-F238E27FC236}">
                <a16:creationId xmlns:a16="http://schemas.microsoft.com/office/drawing/2014/main" id="{0CC7A3C0-0C37-154F-9CC8-FF8A82DFE13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968641" y="4234242"/>
            <a:ext cx="2487856" cy="4585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7" name="5">
            <a:extLst>
              <a:ext uri="{FF2B5EF4-FFF2-40B4-BE49-F238E27FC236}">
                <a16:creationId xmlns:a16="http://schemas.microsoft.com/office/drawing/2014/main" id="{D35007DD-4D32-744C-9E0C-CC04D81DFFE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360586" y="4860299"/>
            <a:ext cx="636587" cy="46797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35" name="5 Copy">
            <a:extLst>
              <a:ext uri="{FF2B5EF4-FFF2-40B4-BE49-F238E27FC236}">
                <a16:creationId xmlns:a16="http://schemas.microsoft.com/office/drawing/2014/main" id="{DEE6D165-02D6-C142-9029-62B0DDA96A9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968641" y="4832026"/>
            <a:ext cx="2487856" cy="4585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8" name="6">
            <a:extLst>
              <a:ext uri="{FF2B5EF4-FFF2-40B4-BE49-F238E27FC236}">
                <a16:creationId xmlns:a16="http://schemas.microsoft.com/office/drawing/2014/main" id="{3F434AC7-9FE2-4945-B806-6357E326DAC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357312" y="5454659"/>
            <a:ext cx="636587" cy="46797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6</a:t>
            </a:r>
          </a:p>
        </p:txBody>
      </p:sp>
      <p:sp>
        <p:nvSpPr>
          <p:cNvPr id="34" name="6 Copy">
            <a:extLst>
              <a:ext uri="{FF2B5EF4-FFF2-40B4-BE49-F238E27FC236}">
                <a16:creationId xmlns:a16="http://schemas.microsoft.com/office/drawing/2014/main" id="{CD847155-579D-9044-9614-337C9A88263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968641" y="5429810"/>
            <a:ext cx="2487856" cy="4585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91209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 – Table Char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2671B7B-445E-B64B-8114-C3FF49315F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6" name="Chapter Title">
            <a:extLst>
              <a:ext uri="{FF2B5EF4-FFF2-40B4-BE49-F238E27FC236}">
                <a16:creationId xmlns:a16="http://schemas.microsoft.com/office/drawing/2014/main" id="{4F973414-A48D-024D-8D5D-555A01E509B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2" name="Pg">
            <a:extLst>
              <a:ext uri="{FF2B5EF4-FFF2-40B4-BE49-F238E27FC236}">
                <a16:creationId xmlns:a16="http://schemas.microsoft.com/office/drawing/2014/main" id="{404CC2A3-2ED5-DB4A-A828-ED53650C053C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B25ADB5-7546-5143-B79B-78DCA81BF1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842681"/>
            <a:ext cx="10752234" cy="748230"/>
          </a:xfrm>
        </p:spPr>
        <p:txBody>
          <a:bodyPr anchor="b"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7" name="Subtitle">
            <a:extLst>
              <a:ext uri="{FF2B5EF4-FFF2-40B4-BE49-F238E27FC236}">
                <a16:creationId xmlns:a16="http://schemas.microsoft.com/office/drawing/2014/main" id="{3381096E-0A87-A446-B08F-AFD6FBB17DB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6552" y="1648610"/>
            <a:ext cx="10752236" cy="34348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0"/>
            </a:lvl1pPr>
          </a:lstStyle>
          <a:p>
            <a:pPr lvl="0"/>
            <a:r>
              <a:rPr lang="en-US"/>
              <a:t>Chart Heading Title Case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01526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 – Call Out Box / Image / Copy -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0D7455A-EE1C-6647-9E82-6D3257DC72EB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2B83497-AC17-AA4D-A408-BC1541DD9E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8260F9E-07AF-6041-980F-7BA9115C09F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5DC50E46-D1E3-BA46-B0BD-6C842CD589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8B8F9C1D-0289-1A42-AF78-E70116C939D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F106F7C5-7A97-E444-BFB0-CF29BEA883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5" name="Body Text">
            <a:extLst>
              <a:ext uri="{FF2B5EF4-FFF2-40B4-BE49-F238E27FC236}">
                <a16:creationId xmlns:a16="http://schemas.microsoft.com/office/drawing/2014/main" id="{3F162B5C-891C-0B44-A2E9-6A1FC9970C9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adipiscing elit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ut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enim ad minim veniam, quis nostrud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amet, elit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ut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enim ad minim veniam, quis nostrud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63519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List_BLUE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C7C5E04-8E76-B248-8774-9FFC64C5F1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C5BE4A64-884B-5841-B4CC-BBBF316FD7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11234F79-2BE8-2C4C-ADCD-CBDE0C61CBF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8176B59D-8851-AB40-AB81-6FD2A69F4F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11678EC7-A5CF-9448-B748-B101B6E7CC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19124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ide Basic Content, 1-Line Headlin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EC2ECA2C-6A4B-843C-DB4F-601C52819D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7361875D-2FEA-BE95-9218-81D842E528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4771299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EECD8F3-B47A-55F4-BAEE-B560FF3716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61314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EECD8F3-B47A-55F4-BAEE-B560FF3716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7BC29FB-1888-7644-9A68-E10411877A79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F201A529-5C10-4027-8858-CB3A56EEF3E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200D9094-B4FD-4E32-FF5C-1A9521CAD85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5D458F59-CF19-9D49-C2AB-3C48D4C196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74AB1EBE-4491-4616-D7DF-4C6FCC615E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2523109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DA98AFB-5A8C-10F9-72B8-8992D01A85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9648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DA98AFB-5A8C-10F9-72B8-8992D01A85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itle 13">
            <a:extLst>
              <a:ext uri="{FF2B5EF4-FFF2-40B4-BE49-F238E27FC236}">
                <a16:creationId xmlns:a16="http://schemas.microsoft.com/office/drawing/2014/main" id="{9CE5718B-CC91-F24E-BB58-FE030026AF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9842" y="315430"/>
            <a:ext cx="11315910" cy="1325563"/>
          </a:xfrm>
        </p:spPr>
        <p:txBody>
          <a:bodyPr vert="horz">
            <a:normAutofit/>
          </a:bodyPr>
          <a:lstStyle>
            <a:lvl1pPr>
              <a:defRPr sz="2800" b="1" i="0">
                <a:latin typeface="Magazine Grotesque Bold" pitchFamily="2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691990FE-98EC-83F9-AA3B-D6E75AAB594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3A5243D-3F4D-5BC4-1C23-56B131C1D11A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2">
            <a:extLst>
              <a:ext uri="{FF2B5EF4-FFF2-40B4-BE49-F238E27FC236}">
                <a16:creationId xmlns:a16="http://schemas.microsoft.com/office/drawing/2014/main" id="{F4EDB59E-3599-C6C4-D2A0-319F7AB9DB9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C595D9C4-58B3-A9CC-9598-24F869DC76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6131870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DA98AFB-5A8C-10F9-72B8-8992D01A85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9648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DA98AFB-5A8C-10F9-72B8-8992D01A85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9841" y="1825625"/>
            <a:ext cx="11315911" cy="4351338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Magazine Grotesque" pitchFamily="2" charset="77"/>
              </a:defRPr>
            </a:lvl1pPr>
            <a:lvl2pPr>
              <a:defRPr b="0" i="0">
                <a:latin typeface="Magazine Grotesque" pitchFamily="2" charset="77"/>
              </a:defRPr>
            </a:lvl2pPr>
            <a:lvl3pPr>
              <a:defRPr b="0" i="0">
                <a:latin typeface="Magazine Grotesque" pitchFamily="2" charset="77"/>
              </a:defRPr>
            </a:lvl3pPr>
            <a:lvl4pPr>
              <a:defRPr b="0" i="0">
                <a:latin typeface="Magazine Grotesque" pitchFamily="2" charset="77"/>
              </a:defRPr>
            </a:lvl4pPr>
            <a:lvl5pPr>
              <a:defRPr b="0" i="0">
                <a:latin typeface="Magazine Grotesque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9CE5718B-CC91-F24E-BB58-FE030026AF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9842" y="315430"/>
            <a:ext cx="11315910" cy="1325563"/>
          </a:xfrm>
        </p:spPr>
        <p:txBody>
          <a:bodyPr vert="horz">
            <a:normAutofit/>
          </a:bodyPr>
          <a:lstStyle>
            <a:lvl1pPr>
              <a:defRPr sz="2800" b="1" i="0">
                <a:latin typeface="Magazine Grotesque Bold" pitchFamily="2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691990FE-98EC-83F9-AA3B-D6E75AAB594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3A5243D-3F4D-5BC4-1C23-56B131C1D11A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2">
            <a:extLst>
              <a:ext uri="{FF2B5EF4-FFF2-40B4-BE49-F238E27FC236}">
                <a16:creationId xmlns:a16="http://schemas.microsoft.com/office/drawing/2014/main" id="{F4EDB59E-3599-C6C4-D2A0-319F7AB9DB9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7121C30A-2478-DD68-AA01-B696BF05B4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0970881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EECD8F3-B47A-55F4-BAEE-B560FF3716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6973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EECD8F3-B47A-55F4-BAEE-B560FF3716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2285" y="315430"/>
            <a:ext cx="11313466" cy="583142"/>
          </a:xfrm>
        </p:spPr>
        <p:txBody>
          <a:bodyPr vert="horz">
            <a:normAutofit/>
          </a:bodyPr>
          <a:lstStyle>
            <a:lvl1pPr>
              <a:defRPr sz="2800">
                <a:latin typeface="Magazine Grotesque" pitchFamily="2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2285" y="1018117"/>
            <a:ext cx="11313466" cy="5158846"/>
          </a:xfrm>
          <a:prstGeom prst="rect">
            <a:avLst/>
          </a:prstGeom>
        </p:spPr>
        <p:txBody>
          <a:bodyPr/>
          <a:lstStyle>
            <a:lvl1pPr>
              <a:defRPr>
                <a:latin typeface="Magazine Grotesque" pitchFamily="2" charset="77"/>
              </a:defRPr>
            </a:lvl1pPr>
            <a:lvl2pPr>
              <a:defRPr>
                <a:latin typeface="Magazine Grotesque" pitchFamily="2" charset="77"/>
              </a:defRPr>
            </a:lvl2pPr>
            <a:lvl3pPr>
              <a:defRPr>
                <a:latin typeface="Magazine Grotesque" pitchFamily="2" charset="77"/>
              </a:defRPr>
            </a:lvl3pPr>
            <a:lvl4pPr>
              <a:defRPr>
                <a:latin typeface="Magazine Grotesque" pitchFamily="2" charset="77"/>
              </a:defRPr>
            </a:lvl4pPr>
            <a:lvl5pPr>
              <a:defRPr>
                <a:latin typeface="Magazine Grotesque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7BC29FB-1888-7644-9A68-E10411877A79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F201A529-5C10-4027-8858-CB3A56EEF3E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200D9094-B4FD-4E32-FF5C-1A9521CAD85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845EB33-BC40-B541-2DE3-635AE372BC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1767409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A2D4F08D-BE1E-443D-8782-37662CDDF2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pic>
        <p:nvPicPr>
          <p:cNvPr id="10" name="Picture 2">
            <a:extLst>
              <a:ext uri="{FF2B5EF4-FFF2-40B4-BE49-F238E27FC236}">
                <a16:creationId xmlns:a16="http://schemas.microsoft.com/office/drawing/2014/main" id="{899AE9EF-61EB-ACFA-4820-EBD3F6BBD83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6E05E0AA-A4C4-9006-5021-1A09E19FCA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940583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9F3E537-3F47-CF42-9252-F6DE9E8EFAA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0D3E3721-D71C-242D-9FAB-F7484EE46E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Display Date">
            <a:extLst>
              <a:ext uri="{FF2B5EF4-FFF2-40B4-BE49-F238E27FC236}">
                <a16:creationId xmlns:a16="http://schemas.microsoft.com/office/drawing/2014/main" id="{EAD50B81-779F-8B92-2873-78302959C0B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5360" y="4867058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6" name="Name &amp; Surname">
            <a:extLst>
              <a:ext uri="{FF2B5EF4-FFF2-40B4-BE49-F238E27FC236}">
                <a16:creationId xmlns:a16="http://schemas.microsoft.com/office/drawing/2014/main" id="{B78998DC-34A4-E505-E5B2-065B7AD50D9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85360" y="4476825"/>
            <a:ext cx="6739878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5" name="Subtitle">
            <a:extLst>
              <a:ext uri="{FF2B5EF4-FFF2-40B4-BE49-F238E27FC236}">
                <a16:creationId xmlns:a16="http://schemas.microsoft.com/office/drawing/2014/main" id="{EF39B048-D0F7-FC99-C35F-01B454D9076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49C0D03-7FFE-8DD0-BA3B-5C5C71E1F4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31" name="Picture 30" descr="McGraw Hill red cube Logo">
            <a:extLst>
              <a:ext uri="{FF2B5EF4-FFF2-40B4-BE49-F238E27FC236}">
                <a16:creationId xmlns:a16="http://schemas.microsoft.com/office/drawing/2014/main" id="{EFEC87DA-795E-124E-97B1-9468E0ABCD0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3212706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ide Basic Content, 1-Line Headlin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EC2ECA2C-6A4B-843C-DB4F-601C52819D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7361875D-2FEA-BE95-9218-81D842E528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8220471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Red">
    <p:bg>
      <p:bgPr>
        <a:solidFill>
          <a:srgbClr val="D0232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FE2B1DE6-88E8-5940-A140-CEFB25E44F8E}"/>
              </a:ext>
            </a:extLst>
          </p:cNvPr>
          <p:cNvGrpSpPr/>
          <p:nvPr userDrawn="1"/>
        </p:nvGrpSpPr>
        <p:grpSpPr>
          <a:xfrm>
            <a:off x="4881651" y="1981444"/>
            <a:ext cx="1448597" cy="1447556"/>
            <a:chOff x="6811876" y="1647187"/>
            <a:chExt cx="1448597" cy="1447556"/>
          </a:xfrm>
          <a:solidFill>
            <a:srgbClr val="CF2330"/>
          </a:solidFill>
        </p:grpSpPr>
        <p:sp>
          <p:nvSpPr>
            <p:cNvPr id="14" name="Rounded Rectangle 13">
              <a:extLst>
                <a:ext uri="{FF2B5EF4-FFF2-40B4-BE49-F238E27FC236}">
                  <a16:creationId xmlns:a16="http://schemas.microsoft.com/office/drawing/2014/main" id="{5721BDD7-D6BA-9649-A6F4-0BD415AF2BBF}"/>
                </a:ext>
              </a:extLst>
            </p:cNvPr>
            <p:cNvSpPr/>
            <p:nvPr/>
          </p:nvSpPr>
          <p:spPr>
            <a:xfrm>
              <a:off x="6811876" y="1647187"/>
              <a:ext cx="900842" cy="820286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ounded Rectangle 14">
              <a:extLst>
                <a:ext uri="{FF2B5EF4-FFF2-40B4-BE49-F238E27FC236}">
                  <a16:creationId xmlns:a16="http://schemas.microsoft.com/office/drawing/2014/main" id="{5FD3D976-7A1B-2F46-AA9C-FA3A12C5BBFB}"/>
                </a:ext>
              </a:extLst>
            </p:cNvPr>
            <p:cNvSpPr/>
            <p:nvPr/>
          </p:nvSpPr>
          <p:spPr>
            <a:xfrm>
              <a:off x="7359631" y="1647187"/>
              <a:ext cx="900842" cy="820286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ounded Rectangle 15">
              <a:extLst>
                <a:ext uri="{FF2B5EF4-FFF2-40B4-BE49-F238E27FC236}">
                  <a16:creationId xmlns:a16="http://schemas.microsoft.com/office/drawing/2014/main" id="{ABBAC0A5-63D6-614C-8289-4285E5C9A790}"/>
                </a:ext>
              </a:extLst>
            </p:cNvPr>
            <p:cNvSpPr/>
            <p:nvPr/>
          </p:nvSpPr>
          <p:spPr>
            <a:xfrm>
              <a:off x="6811876" y="2274457"/>
              <a:ext cx="900842" cy="820286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ounded Rectangle 16">
              <a:extLst>
                <a:ext uri="{FF2B5EF4-FFF2-40B4-BE49-F238E27FC236}">
                  <a16:creationId xmlns:a16="http://schemas.microsoft.com/office/drawing/2014/main" id="{9A6C329C-9F49-674D-BE6B-CD803B5FD671}"/>
                </a:ext>
              </a:extLst>
            </p:cNvPr>
            <p:cNvSpPr/>
            <p:nvPr/>
          </p:nvSpPr>
          <p:spPr>
            <a:xfrm>
              <a:off x="7359631" y="2274457"/>
              <a:ext cx="900842" cy="820286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73AA23DE-9635-6412-5B6C-4805B44D61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2DE06899-4B4E-2102-66E0-D77B3B40FD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2861670"/>
            <a:ext cx="7277100" cy="867930"/>
          </a:xfrm>
          <a:prstGeom prst="rect">
            <a:avLst/>
          </a:prstGeom>
        </p:spPr>
        <p:txBody>
          <a:bodyPr wrap="square" lIns="0" tIns="91440" rIns="0" bIns="91440">
            <a:spAutoFit/>
          </a:bodyPr>
          <a:lstStyle>
            <a:lvl1pPr marL="0" indent="0">
              <a:buNone/>
              <a:defRPr sz="4800" b="0" i="0">
                <a:solidFill>
                  <a:schemeClr val="tx1">
                    <a:lumMod val="95000"/>
                    <a:lumOff val="5000"/>
                  </a:schemeClr>
                </a:solidFill>
                <a:latin typeface="Magazine Grotesque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1.0 Title Her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72C58259-AE6E-64AC-051F-5732D61AEEF3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2">
            <a:extLst>
              <a:ext uri="{FF2B5EF4-FFF2-40B4-BE49-F238E27FC236}">
                <a16:creationId xmlns:a16="http://schemas.microsoft.com/office/drawing/2014/main" id="{B52EF902-D983-5F8B-3016-8434C60F7CA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09AE8B7C-8817-1AB6-CFA8-C9FB6B45D82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6482848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-Pink">
    <p:bg>
      <p:bgPr>
        <a:solidFill>
          <a:srgbClr val="F57E6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14F9CC8-40EA-727F-B4C5-375BA4128CA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2A986FFF-E5EB-6060-A806-31D3A192911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2861670"/>
            <a:ext cx="7277100" cy="867930"/>
          </a:xfrm>
          <a:prstGeom prst="rect">
            <a:avLst/>
          </a:prstGeom>
        </p:spPr>
        <p:txBody>
          <a:bodyPr wrap="square" lIns="0" tIns="91440" rIns="0" bIns="91440">
            <a:spAutoFit/>
          </a:bodyPr>
          <a:lstStyle>
            <a:lvl1pPr marL="0" indent="0">
              <a:buNone/>
              <a:defRPr sz="4800" b="0" i="0">
                <a:solidFill>
                  <a:schemeClr val="tx1">
                    <a:lumMod val="95000"/>
                    <a:lumOff val="5000"/>
                  </a:schemeClr>
                </a:solidFill>
                <a:latin typeface="Magazine Grotesque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1.0 Title Her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6241993-9B36-94BA-B100-31BD0F97012C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>
            <a:extLst>
              <a:ext uri="{FF2B5EF4-FFF2-40B4-BE49-F238E27FC236}">
                <a16:creationId xmlns:a16="http://schemas.microsoft.com/office/drawing/2014/main" id="{3CAE09AD-9EF3-5145-CBD6-0B075575190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CA38BE7-9D59-AE99-EAFE-3C7A12321ED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2456096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School Bus">
    <p:bg>
      <p:bgPr>
        <a:solidFill>
          <a:srgbClr val="F7A3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3993E68-347E-3FDE-ED81-6B1A358C1F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C32ACC53-AFB8-B50A-5774-291260F45AF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2861670"/>
            <a:ext cx="7277100" cy="867930"/>
          </a:xfrm>
          <a:prstGeom prst="rect">
            <a:avLst/>
          </a:prstGeom>
        </p:spPr>
        <p:txBody>
          <a:bodyPr wrap="square" lIns="0" tIns="91440" rIns="0" bIns="91440">
            <a:spAutoFit/>
          </a:bodyPr>
          <a:lstStyle>
            <a:lvl1pPr marL="0" indent="0">
              <a:buNone/>
              <a:defRPr sz="4800" b="0" i="0">
                <a:solidFill>
                  <a:schemeClr val="tx1">
                    <a:lumMod val="95000"/>
                    <a:lumOff val="5000"/>
                  </a:schemeClr>
                </a:solidFill>
                <a:latin typeface="Magazine Grotesque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1.0 Title Her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678D9F8B-A123-0ABF-BF76-DDAED5EB9697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>
            <a:extLst>
              <a:ext uri="{FF2B5EF4-FFF2-40B4-BE49-F238E27FC236}">
                <a16:creationId xmlns:a16="http://schemas.microsoft.com/office/drawing/2014/main" id="{27B8CB88-27E5-0001-71B8-27C9E8157CC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77752FC-31AC-31FD-3BC7-B921363C30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0540318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Pink">
    <p:bg>
      <p:bgPr>
        <a:solidFill>
          <a:srgbClr val="F8B5B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4579E66-55D7-8DB0-F033-35722CC012F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BEB8F7CF-6101-40E5-0A6D-9349817F165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2861670"/>
            <a:ext cx="7277100" cy="867930"/>
          </a:xfrm>
          <a:prstGeom prst="rect">
            <a:avLst/>
          </a:prstGeom>
        </p:spPr>
        <p:txBody>
          <a:bodyPr wrap="square" lIns="0" tIns="91440" rIns="0" bIns="91440">
            <a:spAutoFit/>
          </a:bodyPr>
          <a:lstStyle>
            <a:lvl1pPr marL="0" indent="0">
              <a:buNone/>
              <a:defRPr sz="4800" b="0" i="0">
                <a:solidFill>
                  <a:schemeClr val="tx1">
                    <a:lumMod val="95000"/>
                    <a:lumOff val="5000"/>
                  </a:schemeClr>
                </a:solidFill>
                <a:latin typeface="Magazine Grotesque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1.0 Title Her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CB403343-90AC-F034-0A23-0078D1BAC4BA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>
            <a:extLst>
              <a:ext uri="{FF2B5EF4-FFF2-40B4-BE49-F238E27FC236}">
                <a16:creationId xmlns:a16="http://schemas.microsoft.com/office/drawing/2014/main" id="{3423447F-FBF7-09FD-F74B-F45BAEA269B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0074FC0B-E844-EC17-677B-0D8820D63A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0675488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New Pink">
    <p:bg>
      <p:bgPr>
        <a:solidFill>
          <a:srgbClr val="FAD2D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F8EFA60-78F3-8B23-C7C7-E4845471E9E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E703B7DF-5404-9872-A5D2-95007F07D39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2861670"/>
            <a:ext cx="7277100" cy="867930"/>
          </a:xfrm>
          <a:prstGeom prst="rect">
            <a:avLst/>
          </a:prstGeom>
        </p:spPr>
        <p:txBody>
          <a:bodyPr wrap="square" lIns="0" tIns="91440" rIns="0" bIns="91440">
            <a:spAutoFit/>
          </a:bodyPr>
          <a:lstStyle>
            <a:lvl1pPr marL="0" indent="0">
              <a:buNone/>
              <a:defRPr sz="4800" b="0" i="0">
                <a:solidFill>
                  <a:schemeClr val="tx1">
                    <a:lumMod val="95000"/>
                    <a:lumOff val="5000"/>
                  </a:schemeClr>
                </a:solidFill>
                <a:latin typeface="Magazine Grotesque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1.0 Title Her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52F7702-2618-9B92-15C3-05C9A7A9CE5A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>
            <a:extLst>
              <a:ext uri="{FF2B5EF4-FFF2-40B4-BE49-F238E27FC236}">
                <a16:creationId xmlns:a16="http://schemas.microsoft.com/office/drawing/2014/main" id="{667FDE22-E217-2D1E-77F6-5690AABB8CC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E1A10CBB-8EAE-F407-6C3C-B83304AE54D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5337312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Lt. Grey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895DEF1-A907-F258-BE12-C59E95BBB74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E51DA41C-D0B1-AD27-F710-DDAE323E200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2861670"/>
            <a:ext cx="7277100" cy="867930"/>
          </a:xfrm>
          <a:prstGeom prst="rect">
            <a:avLst/>
          </a:prstGeom>
        </p:spPr>
        <p:txBody>
          <a:bodyPr wrap="square" lIns="0" tIns="91440" rIns="0" bIns="91440">
            <a:spAutoFit/>
          </a:bodyPr>
          <a:lstStyle>
            <a:lvl1pPr marL="0" indent="0">
              <a:buNone/>
              <a:defRPr sz="4800" b="0" i="0">
                <a:solidFill>
                  <a:schemeClr val="tx1">
                    <a:lumMod val="95000"/>
                    <a:lumOff val="5000"/>
                  </a:schemeClr>
                </a:solidFill>
                <a:latin typeface="Magazine Grotesque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1.0 Title Her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64157273-9671-116E-15A9-34D8FB1836D3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>
            <a:extLst>
              <a:ext uri="{FF2B5EF4-FFF2-40B4-BE49-F238E27FC236}">
                <a16:creationId xmlns:a16="http://schemas.microsoft.com/office/drawing/2014/main" id="{7547D791-D560-6AF4-BA19-3F7D8CDF973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A657A61D-7CAB-5542-B874-288252F399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7798859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Wh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9900189-5AA2-7FD6-A83C-74854134787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C2A94F57-B22C-FA69-3F5A-1800DAF8670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2861670"/>
            <a:ext cx="7277100" cy="867930"/>
          </a:xfrm>
          <a:prstGeom prst="rect">
            <a:avLst/>
          </a:prstGeom>
        </p:spPr>
        <p:txBody>
          <a:bodyPr wrap="square" lIns="0" tIns="91440" rIns="0" bIns="91440">
            <a:spAutoFit/>
          </a:bodyPr>
          <a:lstStyle>
            <a:lvl1pPr marL="0" indent="0">
              <a:buNone/>
              <a:defRPr sz="4800" b="0" i="0">
                <a:solidFill>
                  <a:schemeClr val="tx1">
                    <a:lumMod val="95000"/>
                    <a:lumOff val="5000"/>
                  </a:schemeClr>
                </a:solidFill>
                <a:latin typeface="Magazine Grotesque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1.0 Title Her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024C75A6-0676-0707-2DA0-9F4F2B6E0D42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>
            <a:extLst>
              <a:ext uri="{FF2B5EF4-FFF2-40B4-BE49-F238E27FC236}">
                <a16:creationId xmlns:a16="http://schemas.microsoft.com/office/drawing/2014/main" id="{02B3A761-F93E-768E-678B-6A2853A7982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B0B2227A-AB96-E66D-6959-34F64E1FB25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9560805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Content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op Nav">
            <a:extLst>
              <a:ext uri="{FF2B5EF4-FFF2-40B4-BE49-F238E27FC236}">
                <a16:creationId xmlns:a16="http://schemas.microsoft.com/office/drawing/2014/main" id="{506D94AE-6408-924A-9474-D9BFD3F46B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op Nav">
            <a:extLst>
              <a:ext uri="{FF2B5EF4-FFF2-40B4-BE49-F238E27FC236}">
                <a16:creationId xmlns:a16="http://schemas.microsoft.com/office/drawing/2014/main" id="{587A5945-13FE-A54A-B1D9-FD863F5E65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728662"/>
            <a:ext cx="6096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Pg">
            <a:extLst>
              <a:ext uri="{FF2B5EF4-FFF2-40B4-BE49-F238E27FC236}">
                <a16:creationId xmlns:a16="http://schemas.microsoft.com/office/drawing/2014/main" id="{4D0F0969-6A77-E9ED-7831-7B6D2742FDF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Column 1">
            <a:extLst>
              <a:ext uri="{FF2B5EF4-FFF2-40B4-BE49-F238E27FC236}">
                <a16:creationId xmlns:a16="http://schemas.microsoft.com/office/drawing/2014/main" id="{2F5662AF-7710-BD12-B3C3-E68E6BC6340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756529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Title 2">
            <a:extLst>
              <a:ext uri="{FF2B5EF4-FFF2-40B4-BE49-F238E27FC236}">
                <a16:creationId xmlns:a16="http://schemas.microsoft.com/office/drawing/2014/main" id="{56660D89-6935-0841-BD0F-E8303DE34F4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56529" y="1689044"/>
            <a:ext cx="2540607" cy="52322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Title 24pt Bold</a:t>
            </a:r>
          </a:p>
        </p:txBody>
      </p:sp>
      <p:sp>
        <p:nvSpPr>
          <p:cNvPr id="4" name="Column 1">
            <a:extLst>
              <a:ext uri="{FF2B5EF4-FFF2-40B4-BE49-F238E27FC236}">
                <a16:creationId xmlns:a16="http://schemas.microsoft.com/office/drawing/2014/main" id="{15B2D6D7-92FA-A341-4B7F-6F369242B26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69051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6CFA8719-8D5A-0F48-BF03-43422A7A51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12968A59-ECEF-5743-B06E-E7F185B3A6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A3BA688-9438-8D4E-8584-9C8619327D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28083581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No Details_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DA1175B-4997-AD46-A66F-AD54249B30D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AE7ED1B1-2133-504B-8BC5-FCD9399E99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59F5F042-B335-3A4E-8342-1F0AFC60A39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7" name="Title 2">
            <a:extLst>
              <a:ext uri="{FF2B5EF4-FFF2-40B4-BE49-F238E27FC236}">
                <a16:creationId xmlns:a16="http://schemas.microsoft.com/office/drawing/2014/main" id="{94C621B4-9BA6-FE43-9C64-9788F9AAAA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0" name="Picture 9" descr="McGraw Hill cube Logo">
            <a:extLst>
              <a:ext uri="{FF2B5EF4-FFF2-40B4-BE49-F238E27FC236}">
                <a16:creationId xmlns:a16="http://schemas.microsoft.com/office/drawing/2014/main" id="{DA944CFB-F2AB-1F4B-A4C9-0C1C0870C60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74501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No Details_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5E0D79D-6B62-1B4E-A21C-A07AA43102B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D7D5D4D7-984C-A14F-BEE6-F25C950543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1982DDFA-3902-F940-8095-D232FCB14CD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1724F994-0193-0545-A506-58996A8A5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3" name="Picture 12" descr="McGraw Hill red cube Logo">
            <a:extLst>
              <a:ext uri="{FF2B5EF4-FFF2-40B4-BE49-F238E27FC236}">
                <a16:creationId xmlns:a16="http://schemas.microsoft.com/office/drawing/2014/main" id="{70A3D634-4B29-4F4F-8DA3-FC1D408777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40907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No Details_VIOLE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3ECD4933-6BE6-E603-C835-4A8D8C73725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D7D5D4D7-984C-A14F-BEE6-F25C950543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1982DDFA-3902-F940-8095-D232FCB14CD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1724F994-0193-0545-A506-58996A8A5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3" name="Picture 12" descr="McGraw Hill red cube Logo">
            <a:extLst>
              <a:ext uri="{FF2B5EF4-FFF2-40B4-BE49-F238E27FC236}">
                <a16:creationId xmlns:a16="http://schemas.microsoft.com/office/drawing/2014/main" id="{70A3D634-4B29-4F4F-8DA3-FC1D408777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1281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No Details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9F3E537-3F47-CF42-9252-F6DE9E8EFAA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0D3E3721-D71C-242D-9FAB-F7484EE46E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ubtitle">
            <a:extLst>
              <a:ext uri="{FF2B5EF4-FFF2-40B4-BE49-F238E27FC236}">
                <a16:creationId xmlns:a16="http://schemas.microsoft.com/office/drawing/2014/main" id="{EF39B048-D0F7-FC99-C35F-01B454D9076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49C0D03-7FFE-8DD0-BA3B-5C5C71E1F4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31" name="Picture 30" descr="McGraw Hill red cube Logo">
            <a:extLst>
              <a:ext uri="{FF2B5EF4-FFF2-40B4-BE49-F238E27FC236}">
                <a16:creationId xmlns:a16="http://schemas.microsoft.com/office/drawing/2014/main" id="{EFEC87DA-795E-124E-97B1-9468E0ABCD0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785828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ll-Out Box_List_BLUE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C7C5E04-8E76-B248-8774-9FFC64C5F1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C5BE4A64-884B-5841-B4CC-BBBF316FD7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11234F79-2BE8-2C4C-ADCD-CBDE0C61CBF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8176B59D-8851-AB40-AB81-6FD2A69F4F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11678EC7-A5CF-9448-B748-B101B6E7CC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9754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with Image_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D6792C61-A2E3-D441-8137-CB45AFE0828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DE6919F8-F58F-2A4A-98F5-FDE984CD975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017" y="498906"/>
            <a:ext cx="12183602" cy="5878123"/>
            <a:chOff x="-1017" y="498906"/>
            <a:chExt cx="12183602" cy="5878123"/>
          </a:xfrm>
        </p:grpSpPr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E84A42B3-C875-7246-A333-E68DA98D95DB}"/>
                </a:ext>
              </a:extLst>
            </p:cNvPr>
            <p:cNvGrpSpPr/>
            <p:nvPr userDrawn="1"/>
          </p:nvGrpSpPr>
          <p:grpSpPr>
            <a:xfrm>
              <a:off x="-1017" y="1611038"/>
              <a:ext cx="12183602" cy="4765991"/>
              <a:chOff x="-1017" y="1611038"/>
              <a:chExt cx="12183602" cy="4765991"/>
            </a:xfrm>
          </p:grpSpPr>
          <p:sp>
            <p:nvSpPr>
              <p:cNvPr id="88" name="Rectangle 87">
                <a:extLst>
                  <a:ext uri="{FF2B5EF4-FFF2-40B4-BE49-F238E27FC236}">
                    <a16:creationId xmlns:a16="http://schemas.microsoft.com/office/drawing/2014/main" id="{472291B4-31A1-FC4C-9218-CC71C5ECF3DC}"/>
                  </a:ext>
                </a:extLst>
              </p:cNvPr>
              <p:cNvSpPr/>
              <p:nvPr/>
            </p:nvSpPr>
            <p:spPr>
              <a:xfrm rot="16200000">
                <a:off x="8777293" y="3412639"/>
                <a:ext cx="1561918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9" name="Rectangle 88">
                <a:extLst>
                  <a:ext uri="{FF2B5EF4-FFF2-40B4-BE49-F238E27FC236}">
                    <a16:creationId xmlns:a16="http://schemas.microsoft.com/office/drawing/2014/main" id="{E9130DD8-37F0-BF47-8443-E9DE9187AB2F}"/>
                  </a:ext>
                </a:extLst>
              </p:cNvPr>
              <p:cNvSpPr/>
              <p:nvPr userDrawn="1"/>
            </p:nvSpPr>
            <p:spPr>
              <a:xfrm rot="16200000">
                <a:off x="8952361" y="3354283"/>
                <a:ext cx="1445206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1" name="Rectangle 90">
                <a:extLst>
                  <a:ext uri="{FF2B5EF4-FFF2-40B4-BE49-F238E27FC236}">
                    <a16:creationId xmlns:a16="http://schemas.microsoft.com/office/drawing/2014/main" id="{0CD89C06-927B-1048-857D-F555B58E9E09}"/>
                  </a:ext>
                </a:extLst>
              </p:cNvPr>
              <p:cNvSpPr/>
              <p:nvPr/>
            </p:nvSpPr>
            <p:spPr>
              <a:xfrm rot="18900000">
                <a:off x="9095325" y="1611038"/>
                <a:ext cx="3013278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2" name="Rectangle 91">
                <a:extLst>
                  <a:ext uri="{FF2B5EF4-FFF2-40B4-BE49-F238E27FC236}">
                    <a16:creationId xmlns:a16="http://schemas.microsoft.com/office/drawing/2014/main" id="{57E0C0AC-9BA1-214B-8145-543EE42ED6E9}"/>
                  </a:ext>
                </a:extLst>
              </p:cNvPr>
              <p:cNvSpPr/>
              <p:nvPr userDrawn="1"/>
            </p:nvSpPr>
            <p:spPr>
              <a:xfrm rot="18900000">
                <a:off x="9227663" y="1672933"/>
                <a:ext cx="2954922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1" name="Rectangle 100">
                <a:extLst>
                  <a:ext uri="{FF2B5EF4-FFF2-40B4-BE49-F238E27FC236}">
                    <a16:creationId xmlns:a16="http://schemas.microsoft.com/office/drawing/2014/main" id="{D4538913-9335-E444-BF4E-F794A08ED497}"/>
                  </a:ext>
                </a:extLst>
              </p:cNvPr>
              <p:cNvSpPr/>
              <p:nvPr/>
            </p:nvSpPr>
            <p:spPr>
              <a:xfrm>
                <a:off x="-1017" y="6143607"/>
                <a:ext cx="11723929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2" name="Rectangle 101">
                <a:extLst>
                  <a:ext uri="{FF2B5EF4-FFF2-40B4-BE49-F238E27FC236}">
                    <a16:creationId xmlns:a16="http://schemas.microsoft.com/office/drawing/2014/main" id="{B0E2A164-33EF-A54E-9F2D-524ABD561FD8}"/>
                  </a:ext>
                </a:extLst>
              </p:cNvPr>
              <p:cNvSpPr/>
              <p:nvPr userDrawn="1"/>
            </p:nvSpPr>
            <p:spPr>
              <a:xfrm>
                <a:off x="-1017" y="6260318"/>
                <a:ext cx="11842107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4" name="Rectangle 103">
                <a:extLst>
                  <a:ext uri="{FF2B5EF4-FFF2-40B4-BE49-F238E27FC236}">
                    <a16:creationId xmlns:a16="http://schemas.microsoft.com/office/drawing/2014/main" id="{84A060C7-32C6-3044-9FCC-1367B695FF14}"/>
                  </a:ext>
                </a:extLst>
              </p:cNvPr>
              <p:cNvSpPr/>
              <p:nvPr/>
            </p:nvSpPr>
            <p:spPr>
              <a:xfrm rot="16200000">
                <a:off x="10610640" y="5133287"/>
                <a:ext cx="2112803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5" name="Rectangle 104">
                <a:extLst>
                  <a:ext uri="{FF2B5EF4-FFF2-40B4-BE49-F238E27FC236}">
                    <a16:creationId xmlns:a16="http://schemas.microsoft.com/office/drawing/2014/main" id="{A19BE616-B0FC-664F-8D2F-6A3F97AB1633}"/>
                  </a:ext>
                </a:extLst>
              </p:cNvPr>
              <p:cNvSpPr/>
              <p:nvPr userDrawn="1"/>
            </p:nvSpPr>
            <p:spPr>
              <a:xfrm rot="16200000">
                <a:off x="10604504" y="5139423"/>
                <a:ext cx="2358498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7" name="Rectangle 106">
                <a:extLst>
                  <a:ext uri="{FF2B5EF4-FFF2-40B4-BE49-F238E27FC236}">
                    <a16:creationId xmlns:a16="http://schemas.microsoft.com/office/drawing/2014/main" id="{5EF27DDE-4D35-EC48-99B6-93AD172168ED}"/>
                  </a:ext>
                </a:extLst>
              </p:cNvPr>
              <p:cNvSpPr/>
              <p:nvPr/>
            </p:nvSpPr>
            <p:spPr>
              <a:xfrm rot="10800000">
                <a:off x="9509673" y="4135243"/>
                <a:ext cx="2213239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8" name="Rectangle 107">
                <a:extLst>
                  <a:ext uri="{FF2B5EF4-FFF2-40B4-BE49-F238E27FC236}">
                    <a16:creationId xmlns:a16="http://schemas.microsoft.com/office/drawing/2014/main" id="{5B9AE42F-8A3D-BD41-8E8C-B03D6F2AABFD}"/>
                  </a:ext>
                </a:extLst>
              </p:cNvPr>
              <p:cNvSpPr/>
              <p:nvPr userDrawn="1"/>
            </p:nvSpPr>
            <p:spPr>
              <a:xfrm rot="10800000">
                <a:off x="9616608" y="4018531"/>
                <a:ext cx="2213239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8018B7F2-7545-1A40-8767-8909D3F4819C}"/>
                </a:ext>
              </a:extLst>
            </p:cNvPr>
            <p:cNvGrpSpPr/>
            <p:nvPr userDrawn="1"/>
          </p:nvGrpSpPr>
          <p:grpSpPr>
            <a:xfrm>
              <a:off x="10912844" y="498906"/>
              <a:ext cx="932229" cy="932361"/>
              <a:chOff x="10912844" y="498906"/>
              <a:chExt cx="932229" cy="932361"/>
            </a:xfrm>
          </p:grpSpPr>
          <p:grpSp>
            <p:nvGrpSpPr>
              <p:cNvPr id="36" name="Group 35">
                <a:extLst>
                  <a:ext uri="{FF2B5EF4-FFF2-40B4-BE49-F238E27FC236}">
                    <a16:creationId xmlns:a16="http://schemas.microsoft.com/office/drawing/2014/main" id="{86F24CA8-7119-C74B-961C-0D182044791D}"/>
                  </a:ext>
                </a:extLst>
              </p:cNvPr>
              <p:cNvGrpSpPr/>
              <p:nvPr userDrawn="1"/>
            </p:nvGrpSpPr>
            <p:grpSpPr>
              <a:xfrm>
                <a:off x="10915811" y="498906"/>
                <a:ext cx="929262" cy="929262"/>
                <a:chOff x="3969603" y="2167014"/>
                <a:chExt cx="929262" cy="929262"/>
              </a:xfrm>
              <a:solidFill>
                <a:srgbClr val="E3B9FC"/>
              </a:solidFill>
            </p:grpSpPr>
            <p:sp>
              <p:nvSpPr>
                <p:cNvPr id="40" name="Parallelogram 39">
                  <a:extLst>
                    <a:ext uri="{FF2B5EF4-FFF2-40B4-BE49-F238E27FC236}">
                      <a16:creationId xmlns:a16="http://schemas.microsoft.com/office/drawing/2014/main" id="{4ECDA969-3B93-0041-8812-9414A9750FCE}"/>
                    </a:ext>
                  </a:extLst>
                </p:cNvPr>
                <p:cNvSpPr/>
                <p:nvPr userDrawn="1"/>
              </p:nvSpPr>
              <p:spPr>
                <a:xfrm>
                  <a:off x="3969603" y="2168473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1" name="Parallelogram 40">
                  <a:extLst>
                    <a:ext uri="{FF2B5EF4-FFF2-40B4-BE49-F238E27FC236}">
                      <a16:creationId xmlns:a16="http://schemas.microsoft.com/office/drawing/2014/main" id="{CA5C2512-C76D-6E41-8E09-02263D12AC03}"/>
                    </a:ext>
                  </a:extLst>
                </p:cNvPr>
                <p:cNvSpPr/>
                <p:nvPr userDrawn="1"/>
              </p:nvSpPr>
              <p:spPr>
                <a:xfrm rot="5400000" flipH="1">
                  <a:off x="4321438" y="2518849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37" name="Group 36">
                <a:extLst>
                  <a:ext uri="{FF2B5EF4-FFF2-40B4-BE49-F238E27FC236}">
                    <a16:creationId xmlns:a16="http://schemas.microsoft.com/office/drawing/2014/main" id="{2E6F009D-4DD9-1445-882C-05B6CB71001E}"/>
                  </a:ext>
                </a:extLst>
              </p:cNvPr>
              <p:cNvGrpSpPr/>
              <p:nvPr userDrawn="1"/>
            </p:nvGrpSpPr>
            <p:grpSpPr>
              <a:xfrm>
                <a:off x="10912844" y="609246"/>
                <a:ext cx="823347" cy="822021"/>
                <a:chOff x="3966636" y="2277354"/>
                <a:chExt cx="823347" cy="822021"/>
              </a:xfrm>
              <a:solidFill>
                <a:srgbClr val="E21A23"/>
              </a:solidFill>
            </p:grpSpPr>
            <p:sp>
              <p:nvSpPr>
                <p:cNvPr id="38" name="Parallelogram 61">
                  <a:extLst>
                    <a:ext uri="{FF2B5EF4-FFF2-40B4-BE49-F238E27FC236}">
                      <a16:creationId xmlns:a16="http://schemas.microsoft.com/office/drawing/2014/main" id="{4FF1D96C-C26A-D247-B296-2D1B409294A0}"/>
                    </a:ext>
                  </a:extLst>
                </p:cNvPr>
                <p:cNvSpPr/>
                <p:nvPr userDrawn="1"/>
              </p:nvSpPr>
              <p:spPr>
                <a:xfrm>
                  <a:off x="3966636" y="2277354"/>
                  <a:ext cx="821312" cy="119886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19886">
                      <a:moveTo>
                        <a:pt x="0" y="119886"/>
                      </a:moveTo>
                      <a:lnTo>
                        <a:pt x="112441" y="3175"/>
                      </a:lnTo>
                      <a:lnTo>
                        <a:pt x="821312" y="0"/>
                      </a:lnTo>
                      <a:lnTo>
                        <a:pt x="708871" y="116711"/>
                      </a:lnTo>
                      <a:lnTo>
                        <a:pt x="0" y="11988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9" name="Parallelogram 61">
                  <a:extLst>
                    <a:ext uri="{FF2B5EF4-FFF2-40B4-BE49-F238E27FC236}">
                      <a16:creationId xmlns:a16="http://schemas.microsoft.com/office/drawing/2014/main" id="{5610441A-E740-F54A-80F8-0C5A74DE2B3B}"/>
                    </a:ext>
                  </a:extLst>
                </p:cNvPr>
                <p:cNvSpPr/>
                <p:nvPr userDrawn="1"/>
              </p:nvSpPr>
              <p:spPr>
                <a:xfrm rot="16200000" flipH="1">
                  <a:off x="4317797" y="2627188"/>
                  <a:ext cx="821312" cy="123061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8791 w 821312"/>
                    <a:gd name="connsiteY1" fmla="*/ 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23061 h 123061"/>
                    <a:gd name="connsiteX1" fmla="*/ 64816 w 821312"/>
                    <a:gd name="connsiteY1" fmla="*/ 0 h 123061"/>
                    <a:gd name="connsiteX2" fmla="*/ 821312 w 821312"/>
                    <a:gd name="connsiteY2" fmla="*/ 3175 h 123061"/>
                    <a:gd name="connsiteX3" fmla="*/ 708871 w 821312"/>
                    <a:gd name="connsiteY3" fmla="*/ 119886 h 123061"/>
                    <a:gd name="connsiteX4" fmla="*/ 0 w 821312"/>
                    <a:gd name="connsiteY4" fmla="*/ 123061 h 1230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23061">
                      <a:moveTo>
                        <a:pt x="0" y="123061"/>
                      </a:moveTo>
                      <a:lnTo>
                        <a:pt x="64816" y="0"/>
                      </a:lnTo>
                      <a:lnTo>
                        <a:pt x="821312" y="3175"/>
                      </a:lnTo>
                      <a:lnTo>
                        <a:pt x="708871" y="119886"/>
                      </a:lnTo>
                      <a:lnTo>
                        <a:pt x="0" y="12306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</p:grpSp>
      <p:sp>
        <p:nvSpPr>
          <p:cNvPr id="58" name="Rectangle 57">
            <a:extLst>
              <a:ext uri="{FF2B5EF4-FFF2-40B4-BE49-F238E27FC236}">
                <a16:creationId xmlns:a16="http://schemas.microsoft.com/office/drawing/2014/main" id="{1D270C0A-6D12-D543-BBDC-13F13EEF7DA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1436453"/>
            <a:ext cx="5144874" cy="2580258"/>
          </a:xfrm>
          <a:prstGeom prst="rect">
            <a:avLst/>
          </a:prstGeom>
          <a:solidFill>
            <a:schemeClr val="bg2"/>
          </a:solidFill>
          <a:ln w="9525">
            <a:solidFill>
              <a:srgbClr val="08337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D1AB0CE1-8D6D-7448-B8CE-6354B4485C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4023448"/>
            <a:ext cx="5144767" cy="923533"/>
          </a:xfrm>
          <a:prstGeom prst="rect">
            <a:avLst/>
          </a:prstGeom>
          <a:solidFill>
            <a:schemeClr val="bg2"/>
          </a:solidFill>
          <a:ln w="9525">
            <a:solidFill>
              <a:srgbClr val="08337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2" name="Picture Placeholder 2">
            <a:extLst>
              <a:ext uri="{FF2B5EF4-FFF2-40B4-BE49-F238E27FC236}">
                <a16:creationId xmlns:a16="http://schemas.microsoft.com/office/drawing/2014/main" id="{62B1EA1F-4CEF-8943-B26B-D2EE7BECA27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59041" y="2830679"/>
            <a:ext cx="3121683" cy="402732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3" name="Numeral Date">
            <a:extLst>
              <a:ext uri="{FF2B5EF4-FFF2-40B4-BE49-F238E27FC236}">
                <a16:creationId xmlns:a16="http://schemas.microsoft.com/office/drawing/2014/main" id="{C75370B1-A29C-D045-93FF-A3FF43E45DC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08087" y="4512640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44" name="Name &amp; Surname">
            <a:extLst>
              <a:ext uri="{FF2B5EF4-FFF2-40B4-BE49-F238E27FC236}">
                <a16:creationId xmlns:a16="http://schemas.microsoft.com/office/drawing/2014/main" id="{0FC2ACD5-DFC3-DC4A-AD29-579EDAF07FE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08087" y="4122407"/>
            <a:ext cx="4887913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60" name="Subtitle">
            <a:extLst>
              <a:ext uri="{FF2B5EF4-FFF2-40B4-BE49-F238E27FC236}">
                <a16:creationId xmlns:a16="http://schemas.microsoft.com/office/drawing/2014/main" id="{360FC992-BC0C-6F41-B636-9B86C8738C2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08087" y="3139278"/>
            <a:ext cx="4533631" cy="72398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Subtitle Sample 2 Lines Lorem Ipsum Dolore</a:t>
            </a:r>
          </a:p>
        </p:txBody>
      </p:sp>
      <p:sp>
        <p:nvSpPr>
          <p:cNvPr id="33" name="Title 2">
            <a:extLst>
              <a:ext uri="{FF2B5EF4-FFF2-40B4-BE49-F238E27FC236}">
                <a16:creationId xmlns:a16="http://schemas.microsoft.com/office/drawing/2014/main" id="{2EA7844D-0BD6-CD4D-8958-F02051CF3E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2983" y="1605014"/>
            <a:ext cx="4831300" cy="142057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56" name="Picture 55" descr="McGraw Hill red cube Logo">
            <a:extLst>
              <a:ext uri="{FF2B5EF4-FFF2-40B4-BE49-F238E27FC236}">
                <a16:creationId xmlns:a16="http://schemas.microsoft.com/office/drawing/2014/main" id="{FB8ADFE6-C4A2-E14F-8FFD-6019DBA6187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29066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plit Text Content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op Nav">
            <a:extLst>
              <a:ext uri="{FF2B5EF4-FFF2-40B4-BE49-F238E27FC236}">
                <a16:creationId xmlns:a16="http://schemas.microsoft.com/office/drawing/2014/main" id="{506D94AE-6408-924A-9474-D9BFD3F46B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op Nav">
            <a:extLst>
              <a:ext uri="{FF2B5EF4-FFF2-40B4-BE49-F238E27FC236}">
                <a16:creationId xmlns:a16="http://schemas.microsoft.com/office/drawing/2014/main" id="{587A5945-13FE-A54A-B1D9-FD863F5E65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728662"/>
            <a:ext cx="6096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Pg">
            <a:extLst>
              <a:ext uri="{FF2B5EF4-FFF2-40B4-BE49-F238E27FC236}">
                <a16:creationId xmlns:a16="http://schemas.microsoft.com/office/drawing/2014/main" id="{4D0F0969-6A77-E9ED-7831-7B6D2742FDF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Column 1">
            <a:extLst>
              <a:ext uri="{FF2B5EF4-FFF2-40B4-BE49-F238E27FC236}">
                <a16:creationId xmlns:a16="http://schemas.microsoft.com/office/drawing/2014/main" id="{2F5662AF-7710-BD12-B3C3-E68E6BC6340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756529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Title 2">
            <a:extLst>
              <a:ext uri="{FF2B5EF4-FFF2-40B4-BE49-F238E27FC236}">
                <a16:creationId xmlns:a16="http://schemas.microsoft.com/office/drawing/2014/main" id="{56660D89-6935-0841-BD0F-E8303DE34F4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56529" y="1689044"/>
            <a:ext cx="2540607" cy="52322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Title 24pt Bold</a:t>
            </a:r>
          </a:p>
        </p:txBody>
      </p:sp>
      <p:sp>
        <p:nvSpPr>
          <p:cNvPr id="4" name="Column 1">
            <a:extLst>
              <a:ext uri="{FF2B5EF4-FFF2-40B4-BE49-F238E27FC236}">
                <a16:creationId xmlns:a16="http://schemas.microsoft.com/office/drawing/2014/main" id="{15B2D6D7-92FA-A341-4B7F-6F369242B26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69051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6CFA8719-8D5A-0F48-BF03-43422A7A51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12968A59-ECEF-5743-B06E-E7F185B3A6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A3BA688-9438-8D4E-8584-9C8619327D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7404884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st_with Copy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BC90947-9FBD-3B47-AE88-71E04E581357}"/>
              </a:ext>
            </a:extLst>
          </p:cNvPr>
          <p:cNvSpPr/>
          <p:nvPr userDrawn="1"/>
        </p:nvSpPr>
        <p:spPr>
          <a:xfrm>
            <a:off x="9144091" y="745340"/>
            <a:ext cx="3047910" cy="6112660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952B30F-DA32-BD48-A150-841D2CC2002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800" cy="487103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FC14102-5D1F-CC47-96A6-0F8B125B3B1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9" name="Chapter Title">
            <a:extLst>
              <a:ext uri="{FF2B5EF4-FFF2-40B4-BE49-F238E27FC236}">
                <a16:creationId xmlns:a16="http://schemas.microsoft.com/office/drawing/2014/main" id="{FE7CC563-C876-8D49-9C67-CE4C3C65E6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30E17DB6-2150-0D46-8340-D3581FF40EC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4DD5738-B9A4-D446-8B86-A0199FBA6D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31A62204-B7CF-0F47-9302-76117502529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C4D93840-F4DD-B843-BC4B-8AF7F98AB0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Column 2">
            <a:extLst>
              <a:ext uri="{FF2B5EF4-FFF2-40B4-BE49-F238E27FC236}">
                <a16:creationId xmlns:a16="http://schemas.microsoft.com/office/drawing/2014/main" id="{A2CB17AE-D121-8144-B913-2A0997DF2C7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34367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Slide_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op Nav">
            <a:extLst>
              <a:ext uri="{FF2B5EF4-FFF2-40B4-BE49-F238E27FC236}">
                <a16:creationId xmlns:a16="http://schemas.microsoft.com/office/drawing/2014/main" id="{4F65DF74-35BF-374C-8CF0-E5D7AB09DDE3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08C330D-E520-B044-BD7F-823FA39703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0625"/>
          <a:stretch/>
        </p:blipFill>
        <p:spPr>
          <a:xfrm>
            <a:off x="0" y="728662"/>
            <a:ext cx="12187066" cy="6129337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84D5301B-133C-564C-A213-9DA092C66DA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3447" y="1203499"/>
            <a:ext cx="11851251" cy="5142543"/>
            <a:chOff x="-14169" y="507347"/>
            <a:chExt cx="11851251" cy="5142543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83607632-190B-BF46-A15F-419EBA13D38E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BCC3EE70-2932-9F45-86C4-6EB0FC1208EB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E24F4CF0-1139-A04F-8262-0FA8B4E1A447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solidFill>
              <a:srgbClr val="E21A23"/>
            </a:solidFill>
          </p:grpSpPr>
          <p:sp>
            <p:nvSpPr>
              <p:cNvPr id="19" name="Parallelogram 18">
                <a:extLst>
                  <a:ext uri="{FF2B5EF4-FFF2-40B4-BE49-F238E27FC236}">
                    <a16:creationId xmlns:a16="http://schemas.microsoft.com/office/drawing/2014/main" id="{E8BB8EE7-4379-1C4F-8C8B-F6CD9F7EE4CF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" name="Parallelogram 19">
                <a:extLst>
                  <a:ext uri="{FF2B5EF4-FFF2-40B4-BE49-F238E27FC236}">
                    <a16:creationId xmlns:a16="http://schemas.microsoft.com/office/drawing/2014/main" id="{B6CF2F0D-211E-1246-B0AC-C15369890DD1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C75C03DF-97F8-9846-88BD-3B9E9CAFF73F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2" name="Rectangle 21">
            <a:extLst>
              <a:ext uri="{FF2B5EF4-FFF2-40B4-BE49-F238E27FC236}">
                <a16:creationId xmlns:a16="http://schemas.microsoft.com/office/drawing/2014/main" id="{8AE447BA-E1FE-7549-9DBC-7AACD8913A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592853" y="1433824"/>
            <a:ext cx="2583634" cy="1183772"/>
          </a:xfrm>
          <a:prstGeom prst="rect">
            <a:avLst/>
          </a:prstGeom>
          <a:solidFill>
            <a:srgbClr val="E5E5E5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63F4F9D-236C-FE44-AC73-5145CBDED1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5566" y="2132792"/>
            <a:ext cx="6331352" cy="3515654"/>
          </a:xfrm>
          <a:prstGeom prst="rect">
            <a:avLst/>
          </a:prstGeom>
          <a:solidFill>
            <a:srgbClr val="E5E5E5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7" name="pg">
            <a:extLst>
              <a:ext uri="{FF2B5EF4-FFF2-40B4-BE49-F238E27FC236}">
                <a16:creationId xmlns:a16="http://schemas.microsoft.com/office/drawing/2014/main" id="{708BA20F-287E-A64B-B0E2-6A026B4332E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Copy 2">
            <a:extLst>
              <a:ext uri="{FF2B5EF4-FFF2-40B4-BE49-F238E27FC236}">
                <a16:creationId xmlns:a16="http://schemas.microsoft.com/office/drawing/2014/main" id="{2C589809-6889-304F-BCFD-CB64BE2997D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336363" y="5102929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3</a:t>
            </a:r>
          </a:p>
        </p:txBody>
      </p:sp>
      <p:sp>
        <p:nvSpPr>
          <p:cNvPr id="50" name="Copy 2">
            <a:extLst>
              <a:ext uri="{FF2B5EF4-FFF2-40B4-BE49-F238E27FC236}">
                <a16:creationId xmlns:a16="http://schemas.microsoft.com/office/drawing/2014/main" id="{771E4932-0E80-7849-8F31-59BE38507149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727915" y="5106823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que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lit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isi</a:t>
            </a:r>
          </a:p>
        </p:txBody>
      </p:sp>
      <p:sp>
        <p:nvSpPr>
          <p:cNvPr id="47" name="Copy 2">
            <a:extLst>
              <a:ext uri="{FF2B5EF4-FFF2-40B4-BE49-F238E27FC236}">
                <a16:creationId xmlns:a16="http://schemas.microsoft.com/office/drawing/2014/main" id="{E74A92CB-3D2E-0446-A274-2F2CAA31601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336363" y="4433705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9-12</a:t>
            </a:r>
          </a:p>
        </p:txBody>
      </p:sp>
      <p:sp>
        <p:nvSpPr>
          <p:cNvPr id="46" name="Copy 2">
            <a:extLst>
              <a:ext uri="{FF2B5EF4-FFF2-40B4-BE49-F238E27FC236}">
                <a16:creationId xmlns:a16="http://schemas.microsoft.com/office/drawing/2014/main" id="{1895650C-4BDD-2C4A-B540-9EC7AF02BBF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727915" y="4437599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Copy 2">
            <a:extLst>
              <a:ext uri="{FF2B5EF4-FFF2-40B4-BE49-F238E27FC236}">
                <a16:creationId xmlns:a16="http://schemas.microsoft.com/office/drawing/2014/main" id="{83FC4E0C-81D0-2843-AF35-C8972AD081A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336363" y="3747675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5-08</a:t>
            </a:r>
          </a:p>
        </p:txBody>
      </p:sp>
      <p:sp>
        <p:nvSpPr>
          <p:cNvPr id="44" name="Copy 2">
            <a:extLst>
              <a:ext uri="{FF2B5EF4-FFF2-40B4-BE49-F238E27FC236}">
                <a16:creationId xmlns:a16="http://schemas.microsoft.com/office/drawing/2014/main" id="{4ECEB2AE-9816-3A4C-938A-3042348F0EE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727915" y="3751569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Copy 2">
            <a:extLst>
              <a:ext uri="{FF2B5EF4-FFF2-40B4-BE49-F238E27FC236}">
                <a16:creationId xmlns:a16="http://schemas.microsoft.com/office/drawing/2014/main" id="{0538509E-84DE-5B48-9C6C-F12FEB805CE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336363" y="3034059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2-04</a:t>
            </a:r>
          </a:p>
        </p:txBody>
      </p:sp>
      <p:sp>
        <p:nvSpPr>
          <p:cNvPr id="40" name="Copy 2">
            <a:extLst>
              <a:ext uri="{FF2B5EF4-FFF2-40B4-BE49-F238E27FC236}">
                <a16:creationId xmlns:a16="http://schemas.microsoft.com/office/drawing/2014/main" id="{230F3435-ED54-634F-BEC4-8BA3E46EEE2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727915" y="3037953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nec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lesuada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Copy 2">
            <a:extLst>
              <a:ext uri="{FF2B5EF4-FFF2-40B4-BE49-F238E27FC236}">
                <a16:creationId xmlns:a16="http://schemas.microsoft.com/office/drawing/2014/main" id="{3832C629-D010-424E-8A08-13B90033315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336363" y="2336428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1</a:t>
            </a:r>
          </a:p>
        </p:txBody>
      </p:sp>
      <p:sp>
        <p:nvSpPr>
          <p:cNvPr id="36" name="Copy 2">
            <a:extLst>
              <a:ext uri="{FF2B5EF4-FFF2-40B4-BE49-F238E27FC236}">
                <a16:creationId xmlns:a16="http://schemas.microsoft.com/office/drawing/2014/main" id="{D446FFD1-F5A6-7C4B-B3E0-9B8AF09F110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27915" y="2340322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ro</a:t>
            </a:r>
          </a:p>
        </p:txBody>
      </p:sp>
      <p:sp>
        <p:nvSpPr>
          <p:cNvPr id="52" name="Subtitle">
            <a:extLst>
              <a:ext uri="{FF2B5EF4-FFF2-40B4-BE49-F238E27FC236}">
                <a16:creationId xmlns:a16="http://schemas.microsoft.com/office/drawing/2014/main" id="{409D71C9-875A-1A4D-8CAB-D768AA686F6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76028" y="2021714"/>
            <a:ext cx="1893455" cy="3127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9D511974-7E30-5F48-9610-8BB584FB3B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6028" y="1648584"/>
            <a:ext cx="2190520" cy="332905"/>
          </a:xfrm>
        </p:spPr>
        <p:txBody>
          <a:bodyPr>
            <a:normAutofit/>
          </a:bodyPr>
          <a:lstStyle>
            <a:lvl1pPr>
              <a:defRPr sz="2400"/>
            </a:lvl1pPr>
          </a:lstStyle>
          <a:p>
            <a:endParaRPr lang="en-US"/>
          </a:p>
        </p:txBody>
      </p:sp>
      <p:sp>
        <p:nvSpPr>
          <p:cNvPr id="26" name="Chapter Title">
            <a:extLst>
              <a:ext uri="{FF2B5EF4-FFF2-40B4-BE49-F238E27FC236}">
                <a16:creationId xmlns:a16="http://schemas.microsoft.com/office/drawing/2014/main" id="{76329F06-79E5-9746-AFE7-EEB9368217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931695" y="323151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Chapter 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57D0B80-12FD-454F-BA40-B491810A45CD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31852775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Slides_No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op Nav">
            <a:extLst>
              <a:ext uri="{FF2B5EF4-FFF2-40B4-BE49-F238E27FC236}">
                <a16:creationId xmlns:a16="http://schemas.microsoft.com/office/drawing/2014/main" id="{4F65DF74-35BF-374C-8CF0-E5D7AB09DDE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9539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84D5301B-133C-564C-A213-9DA092C66DA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3447" y="1203499"/>
            <a:ext cx="11851251" cy="5142543"/>
            <a:chOff x="-14169" y="507347"/>
            <a:chExt cx="11851251" cy="5142543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83607632-190B-BF46-A15F-419EBA13D38E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BCC3EE70-2932-9F45-86C4-6EB0FC1208EB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E24F4CF0-1139-A04F-8262-0FA8B4E1A447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solidFill>
              <a:srgbClr val="E21A23"/>
            </a:solidFill>
          </p:grpSpPr>
          <p:sp>
            <p:nvSpPr>
              <p:cNvPr id="19" name="Parallelogram 18">
                <a:extLst>
                  <a:ext uri="{FF2B5EF4-FFF2-40B4-BE49-F238E27FC236}">
                    <a16:creationId xmlns:a16="http://schemas.microsoft.com/office/drawing/2014/main" id="{E8BB8EE7-4379-1C4F-8C8B-F6CD9F7EE4CF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" name="Parallelogram 19">
                <a:extLst>
                  <a:ext uri="{FF2B5EF4-FFF2-40B4-BE49-F238E27FC236}">
                    <a16:creationId xmlns:a16="http://schemas.microsoft.com/office/drawing/2014/main" id="{B6CF2F0D-211E-1246-B0AC-C15369890DD1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C75C03DF-97F8-9846-88BD-3B9E9CAFF73F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1" name="Pg">
            <a:extLst>
              <a:ext uri="{FF2B5EF4-FFF2-40B4-BE49-F238E27FC236}">
                <a16:creationId xmlns:a16="http://schemas.microsoft.com/office/drawing/2014/main" id="{86BE882A-7C95-DB46-BB47-D80D783466A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" name="Copy 2">
            <a:extLst>
              <a:ext uri="{FF2B5EF4-FFF2-40B4-BE49-F238E27FC236}">
                <a16:creationId xmlns:a16="http://schemas.microsoft.com/office/drawing/2014/main" id="{8E79F517-E97A-2748-BB37-5253B0C35F4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336363" y="5102929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3</a:t>
            </a:r>
          </a:p>
        </p:txBody>
      </p:sp>
      <p:sp>
        <p:nvSpPr>
          <p:cNvPr id="54" name="Copy 2">
            <a:extLst>
              <a:ext uri="{FF2B5EF4-FFF2-40B4-BE49-F238E27FC236}">
                <a16:creationId xmlns:a16="http://schemas.microsoft.com/office/drawing/2014/main" id="{3B8A7439-D821-E74D-A59D-0A056B5D0A5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727915" y="5106823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que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lit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isi</a:t>
            </a:r>
          </a:p>
        </p:txBody>
      </p:sp>
      <p:sp>
        <p:nvSpPr>
          <p:cNvPr id="53" name="Copy 2">
            <a:extLst>
              <a:ext uri="{FF2B5EF4-FFF2-40B4-BE49-F238E27FC236}">
                <a16:creationId xmlns:a16="http://schemas.microsoft.com/office/drawing/2014/main" id="{31B6FA48-16DD-004A-9464-40670B70092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336363" y="4433705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9-12</a:t>
            </a:r>
          </a:p>
        </p:txBody>
      </p:sp>
      <p:sp>
        <p:nvSpPr>
          <p:cNvPr id="52" name="Copy 2">
            <a:extLst>
              <a:ext uri="{FF2B5EF4-FFF2-40B4-BE49-F238E27FC236}">
                <a16:creationId xmlns:a16="http://schemas.microsoft.com/office/drawing/2014/main" id="{265B6FF0-F656-0B43-B8D5-E437272BE50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727915" y="4437599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Copy 2">
            <a:extLst>
              <a:ext uri="{FF2B5EF4-FFF2-40B4-BE49-F238E27FC236}">
                <a16:creationId xmlns:a16="http://schemas.microsoft.com/office/drawing/2014/main" id="{96FFBA0B-358D-D141-BE91-646C0B1AD23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336363" y="3747675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5-08</a:t>
            </a:r>
          </a:p>
        </p:txBody>
      </p:sp>
      <p:sp>
        <p:nvSpPr>
          <p:cNvPr id="50" name="Copy 2">
            <a:extLst>
              <a:ext uri="{FF2B5EF4-FFF2-40B4-BE49-F238E27FC236}">
                <a16:creationId xmlns:a16="http://schemas.microsoft.com/office/drawing/2014/main" id="{8E55FD44-AA75-3240-B10E-45B18867F87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727915" y="3751569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Copy 2">
            <a:extLst>
              <a:ext uri="{FF2B5EF4-FFF2-40B4-BE49-F238E27FC236}">
                <a16:creationId xmlns:a16="http://schemas.microsoft.com/office/drawing/2014/main" id="{F33E9590-2B13-C240-8A3F-C37F5BF0FA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336363" y="3034059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2-04</a:t>
            </a:r>
          </a:p>
        </p:txBody>
      </p:sp>
      <p:sp>
        <p:nvSpPr>
          <p:cNvPr id="48" name="Copy 2">
            <a:extLst>
              <a:ext uri="{FF2B5EF4-FFF2-40B4-BE49-F238E27FC236}">
                <a16:creationId xmlns:a16="http://schemas.microsoft.com/office/drawing/2014/main" id="{45AB5212-6841-5641-A6E9-2439AD1F5E7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727915" y="3037953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nec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lesuada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Copy 2">
            <a:extLst>
              <a:ext uri="{FF2B5EF4-FFF2-40B4-BE49-F238E27FC236}">
                <a16:creationId xmlns:a16="http://schemas.microsoft.com/office/drawing/2014/main" id="{69222BC1-7ACE-A845-B5C4-562B12BD884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336363" y="2336428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1</a:t>
            </a:r>
          </a:p>
        </p:txBody>
      </p:sp>
      <p:sp>
        <p:nvSpPr>
          <p:cNvPr id="46" name="Copy 2">
            <a:extLst>
              <a:ext uri="{FF2B5EF4-FFF2-40B4-BE49-F238E27FC236}">
                <a16:creationId xmlns:a16="http://schemas.microsoft.com/office/drawing/2014/main" id="{FFB5E7A5-06FF-8E41-A206-8FE0483CFAE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27915" y="2340322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ro</a:t>
            </a:r>
          </a:p>
        </p:txBody>
      </p:sp>
      <p:sp>
        <p:nvSpPr>
          <p:cNvPr id="45" name="Subtitle">
            <a:extLst>
              <a:ext uri="{FF2B5EF4-FFF2-40B4-BE49-F238E27FC236}">
                <a16:creationId xmlns:a16="http://schemas.microsoft.com/office/drawing/2014/main" id="{E6A78EA7-0D45-D84E-9603-8D69EB853F0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9052" y="2023690"/>
            <a:ext cx="1893455" cy="3127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ADCA9C4C-4F7B-8F4F-A1CD-CFC62E52FC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4118751" cy="332905"/>
          </a:xfrm>
        </p:spPr>
        <p:txBody>
          <a:bodyPr>
            <a:noAutofit/>
          </a:bodyPr>
          <a:lstStyle>
            <a:lvl1pPr>
              <a:defRPr sz="2400"/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32" name="Chapter Title">
            <a:extLst>
              <a:ext uri="{FF2B5EF4-FFF2-40B4-BE49-F238E27FC236}">
                <a16:creationId xmlns:a16="http://schemas.microsoft.com/office/drawing/2014/main" id="{A3C8596E-EA5D-684C-8A87-6E61DFA8A62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931695" y="323151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Chapter Tit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AE84DAE-CB25-CA46-92DA-96F9B98F3A7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2418133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_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>
            <a:extLst>
              <a:ext uri="{FF2B5EF4-FFF2-40B4-BE49-F238E27FC236}">
                <a16:creationId xmlns:a16="http://schemas.microsoft.com/office/drawing/2014/main" id="{140FAE7B-C969-EA4C-B018-E010BFDDB33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grpSp>
        <p:nvGrpSpPr>
          <p:cNvPr id="69" name="Group 68">
            <a:extLst>
              <a:ext uri="{FF2B5EF4-FFF2-40B4-BE49-F238E27FC236}">
                <a16:creationId xmlns:a16="http://schemas.microsoft.com/office/drawing/2014/main" id="{88B37A11-A451-B14A-A613-5DC98C2A30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506002"/>
            <a:ext cx="11897228" cy="5350534"/>
            <a:chOff x="0" y="498906"/>
            <a:chExt cx="11897228" cy="5350534"/>
          </a:xfrm>
        </p:grpSpPr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A51B0339-C2E6-3143-B244-BD4D1E18126D}"/>
                </a:ext>
              </a:extLst>
            </p:cNvPr>
            <p:cNvSpPr/>
            <p:nvPr userDrawn="1"/>
          </p:nvSpPr>
          <p:spPr>
            <a:xfrm rot="18900000">
              <a:off x="10798542" y="892842"/>
              <a:ext cx="1017836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C129491A-35D4-A84B-9565-87CDF183DA99}"/>
                </a:ext>
              </a:extLst>
            </p:cNvPr>
            <p:cNvSpPr/>
            <p:nvPr userDrawn="1"/>
          </p:nvSpPr>
          <p:spPr>
            <a:xfrm rot="18900000">
              <a:off x="10890847" y="974494"/>
              <a:ext cx="1006381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E0E98AE8-8411-B84B-8292-638139043AC5}"/>
                </a:ext>
              </a:extLst>
            </p:cNvPr>
            <p:cNvGrpSpPr/>
            <p:nvPr userDrawn="1"/>
          </p:nvGrpSpPr>
          <p:grpSpPr>
            <a:xfrm>
              <a:off x="10905053" y="498906"/>
              <a:ext cx="929262" cy="929262"/>
              <a:chOff x="3969603" y="2167014"/>
              <a:chExt cx="929262" cy="929262"/>
            </a:xfrm>
            <a:solidFill>
              <a:srgbClr val="E3B9FC"/>
            </a:solidFill>
          </p:grpSpPr>
          <p:sp>
            <p:nvSpPr>
              <p:cNvPr id="84" name="Parallelogram 83">
                <a:extLst>
                  <a:ext uri="{FF2B5EF4-FFF2-40B4-BE49-F238E27FC236}">
                    <a16:creationId xmlns:a16="http://schemas.microsoft.com/office/drawing/2014/main" id="{DC41989C-E26D-6442-B3CA-B5B0F28175A6}"/>
                  </a:ext>
                </a:extLst>
              </p:cNvPr>
              <p:cNvSpPr/>
              <p:nvPr userDrawn="1"/>
            </p:nvSpPr>
            <p:spPr>
              <a:xfrm>
                <a:off x="3969603" y="2168473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5" name="Parallelogram 84">
                <a:extLst>
                  <a:ext uri="{FF2B5EF4-FFF2-40B4-BE49-F238E27FC236}">
                    <a16:creationId xmlns:a16="http://schemas.microsoft.com/office/drawing/2014/main" id="{AB6243CF-39D2-D048-B28C-C3914962E629}"/>
                  </a:ext>
                </a:extLst>
              </p:cNvPr>
              <p:cNvSpPr/>
              <p:nvPr userDrawn="1"/>
            </p:nvSpPr>
            <p:spPr>
              <a:xfrm rot="5400000" flipH="1">
                <a:off x="4321438" y="2518849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4EA953C2-A653-0845-9DC2-36DE9B037A96}"/>
                </a:ext>
              </a:extLst>
            </p:cNvPr>
            <p:cNvGrpSpPr/>
            <p:nvPr userDrawn="1"/>
          </p:nvGrpSpPr>
          <p:grpSpPr>
            <a:xfrm>
              <a:off x="10902086" y="612832"/>
              <a:ext cx="823347" cy="822021"/>
              <a:chOff x="3966636" y="2277354"/>
              <a:chExt cx="823347" cy="822021"/>
            </a:xfrm>
            <a:solidFill>
              <a:srgbClr val="06235B"/>
            </a:solidFill>
          </p:grpSpPr>
          <p:sp>
            <p:nvSpPr>
              <p:cNvPr id="82" name="Parallelogram 61">
                <a:extLst>
                  <a:ext uri="{FF2B5EF4-FFF2-40B4-BE49-F238E27FC236}">
                    <a16:creationId xmlns:a16="http://schemas.microsoft.com/office/drawing/2014/main" id="{9C6D802B-1C1B-2448-A369-EA4FB3078951}"/>
                  </a:ext>
                </a:extLst>
              </p:cNvPr>
              <p:cNvSpPr/>
              <p:nvPr userDrawn="1"/>
            </p:nvSpPr>
            <p:spPr>
              <a:xfrm>
                <a:off x="3966636" y="2277354"/>
                <a:ext cx="821312" cy="119886"/>
              </a:xfrm>
              <a:custGeom>
                <a:avLst/>
                <a:gdLst>
                  <a:gd name="connsiteX0" fmla="*/ 0 w 929262"/>
                  <a:gd name="connsiteY0" fmla="*/ 116711 h 116711"/>
                  <a:gd name="connsiteX1" fmla="*/ 112441 w 929262"/>
                  <a:gd name="connsiteY1" fmla="*/ 0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929262"/>
                  <a:gd name="connsiteY0" fmla="*/ 116711 h 116711"/>
                  <a:gd name="connsiteX1" fmla="*/ 223566 w 929262"/>
                  <a:gd name="connsiteY1" fmla="*/ 3175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805437"/>
                  <a:gd name="connsiteY0" fmla="*/ 116711 h 116711"/>
                  <a:gd name="connsiteX1" fmla="*/ 99741 w 805437"/>
                  <a:gd name="connsiteY1" fmla="*/ 3175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1537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902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21312"/>
                  <a:gd name="connsiteY0" fmla="*/ 119886 h 119886"/>
                  <a:gd name="connsiteX1" fmla="*/ 106091 w 821312"/>
                  <a:gd name="connsiteY1" fmla="*/ 635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2441 w 821312"/>
                  <a:gd name="connsiteY1" fmla="*/ 3175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21312" h="119886">
                    <a:moveTo>
                      <a:pt x="0" y="119886"/>
                    </a:moveTo>
                    <a:lnTo>
                      <a:pt x="112441" y="3175"/>
                    </a:lnTo>
                    <a:lnTo>
                      <a:pt x="821312" y="0"/>
                    </a:lnTo>
                    <a:lnTo>
                      <a:pt x="708871" y="116711"/>
                    </a:lnTo>
                    <a:lnTo>
                      <a:pt x="0" y="11988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3" name="Parallelogram 61">
                <a:extLst>
                  <a:ext uri="{FF2B5EF4-FFF2-40B4-BE49-F238E27FC236}">
                    <a16:creationId xmlns:a16="http://schemas.microsoft.com/office/drawing/2014/main" id="{EDEDF0C9-1B0B-7D40-9C60-92AD32713352}"/>
                  </a:ext>
                </a:extLst>
              </p:cNvPr>
              <p:cNvSpPr/>
              <p:nvPr userDrawn="1"/>
            </p:nvSpPr>
            <p:spPr>
              <a:xfrm rot="16200000" flipH="1">
                <a:off x="4317797" y="2627188"/>
                <a:ext cx="821312" cy="123061"/>
              </a:xfrm>
              <a:custGeom>
                <a:avLst/>
                <a:gdLst>
                  <a:gd name="connsiteX0" fmla="*/ 0 w 929262"/>
                  <a:gd name="connsiteY0" fmla="*/ 116711 h 116711"/>
                  <a:gd name="connsiteX1" fmla="*/ 112441 w 929262"/>
                  <a:gd name="connsiteY1" fmla="*/ 0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929262"/>
                  <a:gd name="connsiteY0" fmla="*/ 116711 h 116711"/>
                  <a:gd name="connsiteX1" fmla="*/ 223566 w 929262"/>
                  <a:gd name="connsiteY1" fmla="*/ 3175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805437"/>
                  <a:gd name="connsiteY0" fmla="*/ 116711 h 116711"/>
                  <a:gd name="connsiteX1" fmla="*/ 99741 w 805437"/>
                  <a:gd name="connsiteY1" fmla="*/ 3175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1537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902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21312"/>
                  <a:gd name="connsiteY0" fmla="*/ 119886 h 119886"/>
                  <a:gd name="connsiteX1" fmla="*/ 106091 w 821312"/>
                  <a:gd name="connsiteY1" fmla="*/ 635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2441 w 821312"/>
                  <a:gd name="connsiteY1" fmla="*/ 3175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8791 w 821312"/>
                  <a:gd name="connsiteY1" fmla="*/ 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23061 h 123061"/>
                  <a:gd name="connsiteX1" fmla="*/ 64816 w 821312"/>
                  <a:gd name="connsiteY1" fmla="*/ 0 h 123061"/>
                  <a:gd name="connsiteX2" fmla="*/ 821312 w 821312"/>
                  <a:gd name="connsiteY2" fmla="*/ 3175 h 123061"/>
                  <a:gd name="connsiteX3" fmla="*/ 708871 w 821312"/>
                  <a:gd name="connsiteY3" fmla="*/ 119886 h 123061"/>
                  <a:gd name="connsiteX4" fmla="*/ 0 w 821312"/>
                  <a:gd name="connsiteY4" fmla="*/ 123061 h 1230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21312" h="123061">
                    <a:moveTo>
                      <a:pt x="0" y="123061"/>
                    </a:moveTo>
                    <a:lnTo>
                      <a:pt x="64816" y="0"/>
                    </a:lnTo>
                    <a:lnTo>
                      <a:pt x="821312" y="3175"/>
                    </a:lnTo>
                    <a:lnTo>
                      <a:pt x="708871" y="119886"/>
                    </a:lnTo>
                    <a:lnTo>
                      <a:pt x="0" y="12306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C9203BDD-F085-D54C-9B92-5D89770BA44F}"/>
                </a:ext>
              </a:extLst>
            </p:cNvPr>
            <p:cNvSpPr/>
            <p:nvPr userDrawn="1"/>
          </p:nvSpPr>
          <p:spPr>
            <a:xfrm rot="16200000">
              <a:off x="10612440" y="1560289"/>
              <a:ext cx="693781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261CD1B2-8A88-4D4D-8EE9-356040E2B5C3}"/>
                </a:ext>
              </a:extLst>
            </p:cNvPr>
            <p:cNvSpPr/>
            <p:nvPr userDrawn="1"/>
          </p:nvSpPr>
          <p:spPr>
            <a:xfrm>
              <a:off x="0" y="5616018"/>
              <a:ext cx="4524277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E9B532A4-72CD-B24F-BE9E-7E6C3538E514}"/>
                </a:ext>
              </a:extLst>
            </p:cNvPr>
            <p:cNvSpPr/>
            <p:nvPr userDrawn="1"/>
          </p:nvSpPr>
          <p:spPr>
            <a:xfrm>
              <a:off x="0" y="5732729"/>
              <a:ext cx="4524277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80D230A1-DF77-DC4E-9A42-EEC7C5D67993}"/>
                </a:ext>
              </a:extLst>
            </p:cNvPr>
            <p:cNvSpPr/>
            <p:nvPr userDrawn="1"/>
          </p:nvSpPr>
          <p:spPr>
            <a:xfrm rot="16200000">
              <a:off x="2357684" y="3679671"/>
              <a:ext cx="3983056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395FC387-B840-D144-9C0C-7CED914FF8A8}"/>
                </a:ext>
              </a:extLst>
            </p:cNvPr>
            <p:cNvSpPr/>
            <p:nvPr userDrawn="1"/>
          </p:nvSpPr>
          <p:spPr>
            <a:xfrm rot="16200000">
              <a:off x="2417629" y="3736438"/>
              <a:ext cx="4096589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15891EC6-CDBE-7B4D-8AD8-65999404C3DF}"/>
                </a:ext>
              </a:extLst>
            </p:cNvPr>
            <p:cNvSpPr/>
            <p:nvPr userDrawn="1"/>
          </p:nvSpPr>
          <p:spPr>
            <a:xfrm>
              <a:off x="4290855" y="1746499"/>
              <a:ext cx="6843541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07E0216E-0E5D-5D4F-BB4E-47134EF5BCA0}"/>
                </a:ext>
              </a:extLst>
            </p:cNvPr>
            <p:cNvSpPr/>
            <p:nvPr userDrawn="1"/>
          </p:nvSpPr>
          <p:spPr>
            <a:xfrm>
              <a:off x="4440730" y="1863210"/>
              <a:ext cx="6681309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FAB71DA5-CF63-FE4F-AE8F-D72A2684966E}"/>
                </a:ext>
              </a:extLst>
            </p:cNvPr>
            <p:cNvSpPr/>
            <p:nvPr userDrawn="1"/>
          </p:nvSpPr>
          <p:spPr>
            <a:xfrm rot="16200000">
              <a:off x="10778958" y="1603747"/>
              <a:ext cx="594165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90" name="Rectangle 89">
            <a:extLst>
              <a:ext uri="{FF2B5EF4-FFF2-40B4-BE49-F238E27FC236}">
                <a16:creationId xmlns:a16="http://schemas.microsoft.com/office/drawing/2014/main" id="{07ADE1EB-1CB5-2346-AF61-868FF2D41E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524277" y="1971563"/>
            <a:ext cx="7667723" cy="387244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/>
          </a:p>
        </p:txBody>
      </p:sp>
      <p:sp>
        <p:nvSpPr>
          <p:cNvPr id="25" name="Pg number">
            <a:extLst>
              <a:ext uri="{FF2B5EF4-FFF2-40B4-BE49-F238E27FC236}">
                <a16:creationId xmlns:a16="http://schemas.microsoft.com/office/drawing/2014/main" id="{0C8CE0BD-720A-0A41-BFD2-D138577FC5D0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Subtitle">
            <a:extLst>
              <a:ext uri="{FF2B5EF4-FFF2-40B4-BE49-F238E27FC236}">
                <a16:creationId xmlns:a16="http://schemas.microsoft.com/office/drawing/2014/main" id="{C1F4978B-3695-7A4D-B017-E81591AFC0F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01477" y="4700419"/>
            <a:ext cx="1893455" cy="3127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0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E34B8769-635F-D74F-ABA7-7F04BF619A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36483" y="3946181"/>
            <a:ext cx="6338254" cy="555787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30" name="Picture 29" descr="McGraw Hill cube Logo">
            <a:extLst>
              <a:ext uri="{FF2B5EF4-FFF2-40B4-BE49-F238E27FC236}">
                <a16:creationId xmlns:a16="http://schemas.microsoft.com/office/drawing/2014/main" id="{FEAEE38D-F776-C54D-998E-34EC9E04A1D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67569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_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044F715-949A-4B0A-5E61-32B593168FA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grpSp>
        <p:nvGrpSpPr>
          <p:cNvPr id="69" name="Group 68">
            <a:extLst>
              <a:ext uri="{FF2B5EF4-FFF2-40B4-BE49-F238E27FC236}">
                <a16:creationId xmlns:a16="http://schemas.microsoft.com/office/drawing/2014/main" id="{88B37A11-A451-B14A-A613-5DC98C2A30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506002"/>
            <a:ext cx="11897228" cy="5350534"/>
            <a:chOff x="0" y="498906"/>
            <a:chExt cx="11897228" cy="5350534"/>
          </a:xfrm>
        </p:grpSpPr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A51B0339-C2E6-3143-B244-BD4D1E18126D}"/>
                </a:ext>
              </a:extLst>
            </p:cNvPr>
            <p:cNvSpPr/>
            <p:nvPr userDrawn="1"/>
          </p:nvSpPr>
          <p:spPr>
            <a:xfrm rot="18900000">
              <a:off x="10798542" y="892842"/>
              <a:ext cx="1017836" cy="11671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C129491A-35D4-A84B-9565-87CDF183DA99}"/>
                </a:ext>
              </a:extLst>
            </p:cNvPr>
            <p:cNvSpPr/>
            <p:nvPr userDrawn="1"/>
          </p:nvSpPr>
          <p:spPr>
            <a:xfrm rot="18900000">
              <a:off x="10890847" y="974494"/>
              <a:ext cx="1006381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E0E98AE8-8411-B84B-8292-638139043AC5}"/>
                </a:ext>
              </a:extLst>
            </p:cNvPr>
            <p:cNvGrpSpPr/>
            <p:nvPr userDrawn="1"/>
          </p:nvGrpSpPr>
          <p:grpSpPr>
            <a:xfrm>
              <a:off x="10905053" y="498906"/>
              <a:ext cx="929262" cy="929262"/>
              <a:chOff x="3969603" y="2167014"/>
              <a:chExt cx="929262" cy="929262"/>
            </a:xfrm>
            <a:solidFill>
              <a:srgbClr val="E3B9FC"/>
            </a:solidFill>
          </p:grpSpPr>
          <p:sp>
            <p:nvSpPr>
              <p:cNvPr id="84" name="Parallelogram 83">
                <a:extLst>
                  <a:ext uri="{FF2B5EF4-FFF2-40B4-BE49-F238E27FC236}">
                    <a16:creationId xmlns:a16="http://schemas.microsoft.com/office/drawing/2014/main" id="{DC41989C-E26D-6442-B3CA-B5B0F28175A6}"/>
                  </a:ext>
                </a:extLst>
              </p:cNvPr>
              <p:cNvSpPr/>
              <p:nvPr userDrawn="1"/>
            </p:nvSpPr>
            <p:spPr>
              <a:xfrm>
                <a:off x="3969603" y="2168473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5" name="Parallelogram 84">
                <a:extLst>
                  <a:ext uri="{FF2B5EF4-FFF2-40B4-BE49-F238E27FC236}">
                    <a16:creationId xmlns:a16="http://schemas.microsoft.com/office/drawing/2014/main" id="{AB6243CF-39D2-D048-B28C-C3914962E629}"/>
                  </a:ext>
                </a:extLst>
              </p:cNvPr>
              <p:cNvSpPr/>
              <p:nvPr userDrawn="1"/>
            </p:nvSpPr>
            <p:spPr>
              <a:xfrm rot="5400000" flipH="1">
                <a:off x="4321438" y="2518849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4EA953C2-A653-0845-9DC2-36DE9B037A96}"/>
                </a:ext>
              </a:extLst>
            </p:cNvPr>
            <p:cNvGrpSpPr/>
            <p:nvPr userDrawn="1"/>
          </p:nvGrpSpPr>
          <p:grpSpPr>
            <a:xfrm>
              <a:off x="10902086" y="612832"/>
              <a:ext cx="823347" cy="822021"/>
              <a:chOff x="3966636" y="2277354"/>
              <a:chExt cx="823347" cy="822021"/>
            </a:xfrm>
            <a:solidFill>
              <a:srgbClr val="06235B"/>
            </a:solidFill>
          </p:grpSpPr>
          <p:sp>
            <p:nvSpPr>
              <p:cNvPr id="82" name="Parallelogram 61">
                <a:extLst>
                  <a:ext uri="{FF2B5EF4-FFF2-40B4-BE49-F238E27FC236}">
                    <a16:creationId xmlns:a16="http://schemas.microsoft.com/office/drawing/2014/main" id="{9C6D802B-1C1B-2448-A369-EA4FB3078951}"/>
                  </a:ext>
                </a:extLst>
              </p:cNvPr>
              <p:cNvSpPr/>
              <p:nvPr userDrawn="1"/>
            </p:nvSpPr>
            <p:spPr>
              <a:xfrm>
                <a:off x="3966636" y="2277354"/>
                <a:ext cx="821312" cy="119886"/>
              </a:xfrm>
              <a:custGeom>
                <a:avLst/>
                <a:gdLst>
                  <a:gd name="connsiteX0" fmla="*/ 0 w 929262"/>
                  <a:gd name="connsiteY0" fmla="*/ 116711 h 116711"/>
                  <a:gd name="connsiteX1" fmla="*/ 112441 w 929262"/>
                  <a:gd name="connsiteY1" fmla="*/ 0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929262"/>
                  <a:gd name="connsiteY0" fmla="*/ 116711 h 116711"/>
                  <a:gd name="connsiteX1" fmla="*/ 223566 w 929262"/>
                  <a:gd name="connsiteY1" fmla="*/ 3175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805437"/>
                  <a:gd name="connsiteY0" fmla="*/ 116711 h 116711"/>
                  <a:gd name="connsiteX1" fmla="*/ 99741 w 805437"/>
                  <a:gd name="connsiteY1" fmla="*/ 3175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1537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902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21312"/>
                  <a:gd name="connsiteY0" fmla="*/ 119886 h 119886"/>
                  <a:gd name="connsiteX1" fmla="*/ 106091 w 821312"/>
                  <a:gd name="connsiteY1" fmla="*/ 635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2441 w 821312"/>
                  <a:gd name="connsiteY1" fmla="*/ 3175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21312" h="119886">
                    <a:moveTo>
                      <a:pt x="0" y="119886"/>
                    </a:moveTo>
                    <a:lnTo>
                      <a:pt x="112441" y="3175"/>
                    </a:lnTo>
                    <a:lnTo>
                      <a:pt x="821312" y="0"/>
                    </a:lnTo>
                    <a:lnTo>
                      <a:pt x="708871" y="116711"/>
                    </a:lnTo>
                    <a:lnTo>
                      <a:pt x="0" y="119886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3" name="Parallelogram 61">
                <a:extLst>
                  <a:ext uri="{FF2B5EF4-FFF2-40B4-BE49-F238E27FC236}">
                    <a16:creationId xmlns:a16="http://schemas.microsoft.com/office/drawing/2014/main" id="{EDEDF0C9-1B0B-7D40-9C60-92AD32713352}"/>
                  </a:ext>
                </a:extLst>
              </p:cNvPr>
              <p:cNvSpPr/>
              <p:nvPr userDrawn="1"/>
            </p:nvSpPr>
            <p:spPr>
              <a:xfrm rot="16200000" flipH="1">
                <a:off x="4317797" y="2627188"/>
                <a:ext cx="821312" cy="123061"/>
              </a:xfrm>
              <a:custGeom>
                <a:avLst/>
                <a:gdLst>
                  <a:gd name="connsiteX0" fmla="*/ 0 w 929262"/>
                  <a:gd name="connsiteY0" fmla="*/ 116711 h 116711"/>
                  <a:gd name="connsiteX1" fmla="*/ 112441 w 929262"/>
                  <a:gd name="connsiteY1" fmla="*/ 0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929262"/>
                  <a:gd name="connsiteY0" fmla="*/ 116711 h 116711"/>
                  <a:gd name="connsiteX1" fmla="*/ 223566 w 929262"/>
                  <a:gd name="connsiteY1" fmla="*/ 3175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805437"/>
                  <a:gd name="connsiteY0" fmla="*/ 116711 h 116711"/>
                  <a:gd name="connsiteX1" fmla="*/ 99741 w 805437"/>
                  <a:gd name="connsiteY1" fmla="*/ 3175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1537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902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21312"/>
                  <a:gd name="connsiteY0" fmla="*/ 119886 h 119886"/>
                  <a:gd name="connsiteX1" fmla="*/ 106091 w 821312"/>
                  <a:gd name="connsiteY1" fmla="*/ 635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2441 w 821312"/>
                  <a:gd name="connsiteY1" fmla="*/ 3175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8791 w 821312"/>
                  <a:gd name="connsiteY1" fmla="*/ 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23061 h 123061"/>
                  <a:gd name="connsiteX1" fmla="*/ 64816 w 821312"/>
                  <a:gd name="connsiteY1" fmla="*/ 0 h 123061"/>
                  <a:gd name="connsiteX2" fmla="*/ 821312 w 821312"/>
                  <a:gd name="connsiteY2" fmla="*/ 3175 h 123061"/>
                  <a:gd name="connsiteX3" fmla="*/ 708871 w 821312"/>
                  <a:gd name="connsiteY3" fmla="*/ 119886 h 123061"/>
                  <a:gd name="connsiteX4" fmla="*/ 0 w 821312"/>
                  <a:gd name="connsiteY4" fmla="*/ 123061 h 1230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21312" h="123061">
                    <a:moveTo>
                      <a:pt x="0" y="123061"/>
                    </a:moveTo>
                    <a:lnTo>
                      <a:pt x="64816" y="0"/>
                    </a:lnTo>
                    <a:lnTo>
                      <a:pt x="821312" y="3175"/>
                    </a:lnTo>
                    <a:lnTo>
                      <a:pt x="708871" y="119886"/>
                    </a:lnTo>
                    <a:lnTo>
                      <a:pt x="0" y="123061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C9203BDD-F085-D54C-9B92-5D89770BA44F}"/>
                </a:ext>
              </a:extLst>
            </p:cNvPr>
            <p:cNvSpPr/>
            <p:nvPr userDrawn="1"/>
          </p:nvSpPr>
          <p:spPr>
            <a:xfrm rot="16200000">
              <a:off x="10612440" y="1560289"/>
              <a:ext cx="693781" cy="11671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261CD1B2-8A88-4D4D-8EE9-356040E2B5C3}"/>
                </a:ext>
              </a:extLst>
            </p:cNvPr>
            <p:cNvSpPr/>
            <p:nvPr userDrawn="1"/>
          </p:nvSpPr>
          <p:spPr>
            <a:xfrm>
              <a:off x="0" y="5616018"/>
              <a:ext cx="4524277" cy="11671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E9B532A4-72CD-B24F-BE9E-7E6C3538E514}"/>
                </a:ext>
              </a:extLst>
            </p:cNvPr>
            <p:cNvSpPr/>
            <p:nvPr userDrawn="1"/>
          </p:nvSpPr>
          <p:spPr>
            <a:xfrm>
              <a:off x="0" y="5732729"/>
              <a:ext cx="4524277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80D230A1-DF77-DC4E-9A42-EEC7C5D67993}"/>
                </a:ext>
              </a:extLst>
            </p:cNvPr>
            <p:cNvSpPr/>
            <p:nvPr userDrawn="1"/>
          </p:nvSpPr>
          <p:spPr>
            <a:xfrm rot="16200000">
              <a:off x="2357684" y="3679671"/>
              <a:ext cx="3983056" cy="11671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395FC387-B840-D144-9C0C-7CED914FF8A8}"/>
                </a:ext>
              </a:extLst>
            </p:cNvPr>
            <p:cNvSpPr/>
            <p:nvPr userDrawn="1"/>
          </p:nvSpPr>
          <p:spPr>
            <a:xfrm rot="16200000">
              <a:off x="2417629" y="3736438"/>
              <a:ext cx="4096589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15891EC6-CDBE-7B4D-8AD8-65999404C3DF}"/>
                </a:ext>
              </a:extLst>
            </p:cNvPr>
            <p:cNvSpPr/>
            <p:nvPr userDrawn="1"/>
          </p:nvSpPr>
          <p:spPr>
            <a:xfrm>
              <a:off x="4290855" y="1746499"/>
              <a:ext cx="6843541" cy="11671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07E0216E-0E5D-5D4F-BB4E-47134EF5BCA0}"/>
                </a:ext>
              </a:extLst>
            </p:cNvPr>
            <p:cNvSpPr/>
            <p:nvPr userDrawn="1"/>
          </p:nvSpPr>
          <p:spPr>
            <a:xfrm>
              <a:off x="4440730" y="1863210"/>
              <a:ext cx="6681309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FAB71DA5-CF63-FE4F-AE8F-D72A2684966E}"/>
                </a:ext>
              </a:extLst>
            </p:cNvPr>
            <p:cNvSpPr/>
            <p:nvPr userDrawn="1"/>
          </p:nvSpPr>
          <p:spPr>
            <a:xfrm rot="16200000">
              <a:off x="10778958" y="1603747"/>
              <a:ext cx="594165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90" name="Rectangle 89">
            <a:extLst>
              <a:ext uri="{FF2B5EF4-FFF2-40B4-BE49-F238E27FC236}">
                <a16:creationId xmlns:a16="http://schemas.microsoft.com/office/drawing/2014/main" id="{07ADE1EB-1CB5-2346-AF61-868FF2D41E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524277" y="1971563"/>
            <a:ext cx="7667723" cy="38724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/>
          </a:p>
        </p:txBody>
      </p:sp>
      <p:sp>
        <p:nvSpPr>
          <p:cNvPr id="25" name="Pg number">
            <a:extLst>
              <a:ext uri="{FF2B5EF4-FFF2-40B4-BE49-F238E27FC236}">
                <a16:creationId xmlns:a16="http://schemas.microsoft.com/office/drawing/2014/main" id="{0C8CE0BD-720A-0A41-BFD2-D138577FC5D0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Subtitle">
            <a:extLst>
              <a:ext uri="{FF2B5EF4-FFF2-40B4-BE49-F238E27FC236}">
                <a16:creationId xmlns:a16="http://schemas.microsoft.com/office/drawing/2014/main" id="{C1F4978B-3695-7A4D-B017-E81591AFC0F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01477" y="4700419"/>
            <a:ext cx="1893455" cy="3127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0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E34B8769-635F-D74F-ABA7-7F04BF619A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36483" y="3946181"/>
            <a:ext cx="6338254" cy="555787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2" name="Picture 1" descr="McGraw Hill red cube Logo">
            <a:extLst>
              <a:ext uri="{FF2B5EF4-FFF2-40B4-BE49-F238E27FC236}">
                <a16:creationId xmlns:a16="http://schemas.microsoft.com/office/drawing/2014/main" id="{624423C3-3CC8-6B32-9362-91ED190AD48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2162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op Nav">
            <a:extLst>
              <a:ext uri="{FF2B5EF4-FFF2-40B4-BE49-F238E27FC236}">
                <a16:creationId xmlns:a16="http://schemas.microsoft.com/office/drawing/2014/main" id="{FD39785A-557E-E14B-A935-CDBDBDD4CDA3}"/>
              </a:ext>
            </a:extLst>
          </p:cNvPr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1E37CF15-892E-7F49-AF0C-7BE439FF32C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0838D3D7-DCCD-8346-A433-F53F64323D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524277" y="1984089"/>
            <a:ext cx="7667723" cy="387244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/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A0E26DE9-E717-A84D-B0C4-9053EBE19FD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519649"/>
            <a:ext cx="11851251" cy="5338782"/>
            <a:chOff x="-14169" y="506202"/>
            <a:chExt cx="11851251" cy="5338782"/>
          </a:xfrm>
          <a:solidFill>
            <a:schemeClr val="bg1"/>
          </a:solidFill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0D29C28D-14ED-B84E-8E53-A6BB8329DEDB}"/>
                </a:ext>
              </a:extLst>
            </p:cNvPr>
            <p:cNvSpPr/>
            <p:nvPr userDrawn="1"/>
          </p:nvSpPr>
          <p:spPr>
            <a:xfrm rot="8100000">
              <a:off x="10845762" y="909016"/>
              <a:ext cx="960307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89AA42A9-15FB-6749-AE69-FC1D7B7168F3}"/>
                </a:ext>
              </a:extLst>
            </p:cNvPr>
            <p:cNvGrpSpPr/>
            <p:nvPr userDrawn="1"/>
          </p:nvGrpSpPr>
          <p:grpSpPr>
            <a:xfrm>
              <a:off x="-14169" y="506202"/>
              <a:ext cx="11851251" cy="5338782"/>
              <a:chOff x="-14169" y="506202"/>
              <a:chExt cx="11851251" cy="5338782"/>
            </a:xfrm>
            <a:grpFill/>
          </p:grpSpPr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62B22248-2D53-E247-AA3F-ED2E1D124D64}"/>
                  </a:ext>
                </a:extLst>
              </p:cNvPr>
              <p:cNvSpPr/>
              <p:nvPr userDrawn="1"/>
            </p:nvSpPr>
            <p:spPr>
              <a:xfrm>
                <a:off x="-14169" y="5620843"/>
                <a:ext cx="4538446" cy="224141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CF1BFD95-5698-FF43-AD20-66576A3F3D3A}"/>
                  </a:ext>
                </a:extLst>
              </p:cNvPr>
              <p:cNvSpPr/>
              <p:nvPr userDrawn="1"/>
            </p:nvSpPr>
            <p:spPr>
              <a:xfrm rot="16200000">
                <a:off x="2360984" y="3679797"/>
                <a:ext cx="4096587" cy="22999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5A044FDD-50FA-1648-9457-EC05013947C0}"/>
                  </a:ext>
                </a:extLst>
              </p:cNvPr>
              <p:cNvSpPr/>
              <p:nvPr userDrawn="1"/>
            </p:nvSpPr>
            <p:spPr>
              <a:xfrm>
                <a:off x="4294278" y="1746503"/>
                <a:ext cx="6843541" cy="224141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36" name="Group 35">
                <a:extLst>
                  <a:ext uri="{FF2B5EF4-FFF2-40B4-BE49-F238E27FC236}">
                    <a16:creationId xmlns:a16="http://schemas.microsoft.com/office/drawing/2014/main" id="{96C32C9E-D401-6E48-9976-914E453C4AD3}"/>
                  </a:ext>
                </a:extLst>
              </p:cNvPr>
              <p:cNvGrpSpPr/>
              <p:nvPr userDrawn="1"/>
            </p:nvGrpSpPr>
            <p:grpSpPr>
              <a:xfrm>
                <a:off x="10907820" y="506202"/>
                <a:ext cx="929262" cy="929262"/>
                <a:chOff x="10912844" y="507347"/>
                <a:chExt cx="929262" cy="929262"/>
              </a:xfrm>
              <a:grpFill/>
            </p:grpSpPr>
            <p:sp>
              <p:nvSpPr>
                <p:cNvPr id="38" name="Parallelogram 37">
                  <a:extLst>
                    <a:ext uri="{FF2B5EF4-FFF2-40B4-BE49-F238E27FC236}">
                      <a16:creationId xmlns:a16="http://schemas.microsoft.com/office/drawing/2014/main" id="{71008BFB-11BC-2542-8376-F7BB3B08D447}"/>
                    </a:ext>
                  </a:extLst>
                </p:cNvPr>
                <p:cNvSpPr/>
                <p:nvPr userDrawn="1"/>
              </p:nvSpPr>
              <p:spPr>
                <a:xfrm>
                  <a:off x="10912844" y="508806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9" name="Parallelogram 38">
                  <a:extLst>
                    <a:ext uri="{FF2B5EF4-FFF2-40B4-BE49-F238E27FC236}">
                      <a16:creationId xmlns:a16="http://schemas.microsoft.com/office/drawing/2014/main" id="{BFC3B435-F175-C845-9FEA-61EBC171A2AD}"/>
                    </a:ext>
                  </a:extLst>
                </p:cNvPr>
                <p:cNvSpPr/>
                <p:nvPr userDrawn="1"/>
              </p:nvSpPr>
              <p:spPr>
                <a:xfrm rot="5400000" flipH="1">
                  <a:off x="11261504" y="859182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9E2D5033-F106-D542-AA2A-50FF984D99EF}"/>
                  </a:ext>
                </a:extLst>
              </p:cNvPr>
              <p:cNvSpPr/>
              <p:nvPr userDrawn="1"/>
            </p:nvSpPr>
            <p:spPr>
              <a:xfrm rot="16200000">
                <a:off x="10675931" y="1508754"/>
                <a:ext cx="693779" cy="22999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21" name="pg">
            <a:extLst>
              <a:ext uri="{FF2B5EF4-FFF2-40B4-BE49-F238E27FC236}">
                <a16:creationId xmlns:a16="http://schemas.microsoft.com/office/drawing/2014/main" id="{C069C5FF-C4F5-3B4E-990A-A42FD42A45F9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E887DFBA-3B0F-FA44-9309-DD5EEEB5A3F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01477" y="4700419"/>
            <a:ext cx="1893455" cy="3127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0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17B6EED-A51B-1508-D9E2-272A0FFC1A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36483" y="3946181"/>
            <a:ext cx="6338254" cy="555787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23" name="Picture 22" descr="McGraw Hill red cube Logo">
            <a:extLst>
              <a:ext uri="{FF2B5EF4-FFF2-40B4-BE49-F238E27FC236}">
                <a16:creationId xmlns:a16="http://schemas.microsoft.com/office/drawing/2014/main" id="{044DDC38-FB28-EF4C-ADCF-A9C98CF649D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5241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>
            <a:extLst>
              <a:ext uri="{FF2B5EF4-FFF2-40B4-BE49-F238E27FC236}">
                <a16:creationId xmlns:a16="http://schemas.microsoft.com/office/drawing/2014/main" id="{EEC6ED01-89A0-7B4E-84D8-3604A114E3B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9238B502-8BAD-5248-B9DE-FB96A0F8687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517754"/>
            <a:ext cx="11851251" cy="5338782"/>
            <a:chOff x="-14169" y="506202"/>
            <a:chExt cx="11851251" cy="5338782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CA8C88DB-8810-E447-8A81-0F3785A8C157}"/>
                </a:ext>
              </a:extLst>
            </p:cNvPr>
            <p:cNvSpPr/>
            <p:nvPr userDrawn="1"/>
          </p:nvSpPr>
          <p:spPr>
            <a:xfrm rot="8100000">
              <a:off x="10845762" y="909016"/>
              <a:ext cx="960307" cy="224141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9282E3CE-BD2B-6340-900F-B2BA9F83F177}"/>
                </a:ext>
              </a:extLst>
            </p:cNvPr>
            <p:cNvGrpSpPr/>
            <p:nvPr userDrawn="1"/>
          </p:nvGrpSpPr>
          <p:grpSpPr>
            <a:xfrm>
              <a:off x="-14169" y="506202"/>
              <a:ext cx="11851251" cy="5338782"/>
              <a:chOff x="-14169" y="506202"/>
              <a:chExt cx="11851251" cy="5338782"/>
            </a:xfrm>
          </p:grpSpPr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D9A29EC1-CD07-CB4F-92F6-2FBF0D61BF1C}"/>
                  </a:ext>
                </a:extLst>
              </p:cNvPr>
              <p:cNvSpPr/>
              <p:nvPr userDrawn="1"/>
            </p:nvSpPr>
            <p:spPr>
              <a:xfrm>
                <a:off x="-14169" y="5620843"/>
                <a:ext cx="4538446" cy="224141"/>
              </a:xfrm>
              <a:prstGeom prst="rect">
                <a:avLst/>
              </a:prstGeom>
              <a:solidFill>
                <a:srgbClr val="E21A2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43A07749-049F-F14B-A2DF-F987E7A19542}"/>
                  </a:ext>
                </a:extLst>
              </p:cNvPr>
              <p:cNvSpPr/>
              <p:nvPr userDrawn="1"/>
            </p:nvSpPr>
            <p:spPr>
              <a:xfrm rot="16200000">
                <a:off x="2360984" y="3679797"/>
                <a:ext cx="4096587" cy="229998"/>
              </a:xfrm>
              <a:prstGeom prst="rect">
                <a:avLst/>
              </a:prstGeom>
              <a:solidFill>
                <a:srgbClr val="E21A2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BEB25190-E7AE-5641-B401-057448851CBD}"/>
                  </a:ext>
                </a:extLst>
              </p:cNvPr>
              <p:cNvSpPr/>
              <p:nvPr userDrawn="1"/>
            </p:nvSpPr>
            <p:spPr>
              <a:xfrm>
                <a:off x="4294278" y="1746503"/>
                <a:ext cx="6843541" cy="224141"/>
              </a:xfrm>
              <a:prstGeom prst="rect">
                <a:avLst/>
              </a:prstGeom>
              <a:solidFill>
                <a:srgbClr val="E21A2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16" name="Group 15">
                <a:extLst>
                  <a:ext uri="{FF2B5EF4-FFF2-40B4-BE49-F238E27FC236}">
                    <a16:creationId xmlns:a16="http://schemas.microsoft.com/office/drawing/2014/main" id="{DF062EBD-C107-A945-A796-8FBA20908D1F}"/>
                  </a:ext>
                </a:extLst>
              </p:cNvPr>
              <p:cNvGrpSpPr/>
              <p:nvPr userDrawn="1"/>
            </p:nvGrpSpPr>
            <p:grpSpPr>
              <a:xfrm>
                <a:off x="10907820" y="506202"/>
                <a:ext cx="929262" cy="929262"/>
                <a:chOff x="10912844" y="507347"/>
                <a:chExt cx="929262" cy="929262"/>
              </a:xfrm>
              <a:solidFill>
                <a:srgbClr val="E21A23"/>
              </a:solidFill>
            </p:grpSpPr>
            <p:sp>
              <p:nvSpPr>
                <p:cNvPr id="17" name="Parallelogram 16">
                  <a:extLst>
                    <a:ext uri="{FF2B5EF4-FFF2-40B4-BE49-F238E27FC236}">
                      <a16:creationId xmlns:a16="http://schemas.microsoft.com/office/drawing/2014/main" id="{F6133709-CC2E-AD4D-B22A-55D6A67BD879}"/>
                    </a:ext>
                  </a:extLst>
                </p:cNvPr>
                <p:cNvSpPr/>
                <p:nvPr userDrawn="1"/>
              </p:nvSpPr>
              <p:spPr>
                <a:xfrm>
                  <a:off x="10912844" y="508806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8" name="Parallelogram 17">
                  <a:extLst>
                    <a:ext uri="{FF2B5EF4-FFF2-40B4-BE49-F238E27FC236}">
                      <a16:creationId xmlns:a16="http://schemas.microsoft.com/office/drawing/2014/main" id="{3D135569-176F-D34C-B1AA-FC3F2A4245B6}"/>
                    </a:ext>
                  </a:extLst>
                </p:cNvPr>
                <p:cNvSpPr/>
                <p:nvPr userDrawn="1"/>
              </p:nvSpPr>
              <p:spPr>
                <a:xfrm rot="5400000" flipH="1">
                  <a:off x="11261504" y="859182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08783BD0-5800-864A-85E4-A5FA8CDECACD}"/>
                  </a:ext>
                </a:extLst>
              </p:cNvPr>
              <p:cNvSpPr/>
              <p:nvPr userDrawn="1"/>
            </p:nvSpPr>
            <p:spPr>
              <a:xfrm rot="16200000">
                <a:off x="10675931" y="1508754"/>
                <a:ext cx="693779" cy="229998"/>
              </a:xfrm>
              <a:prstGeom prst="rect">
                <a:avLst/>
              </a:prstGeom>
              <a:solidFill>
                <a:srgbClr val="E21A2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23" name="Rectangle 22">
            <a:extLst>
              <a:ext uri="{FF2B5EF4-FFF2-40B4-BE49-F238E27FC236}">
                <a16:creationId xmlns:a16="http://schemas.microsoft.com/office/drawing/2014/main" id="{092AABA7-D5EC-3E42-92EF-22F71D94661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524277" y="1984089"/>
            <a:ext cx="7667723" cy="387244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Pg">
            <a:extLst>
              <a:ext uri="{FF2B5EF4-FFF2-40B4-BE49-F238E27FC236}">
                <a16:creationId xmlns:a16="http://schemas.microsoft.com/office/drawing/2014/main" id="{74E6E17B-B3EE-D24B-8186-59427D04F313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Subtitle">
            <a:extLst>
              <a:ext uri="{FF2B5EF4-FFF2-40B4-BE49-F238E27FC236}">
                <a16:creationId xmlns:a16="http://schemas.microsoft.com/office/drawing/2014/main" id="{316A894F-484A-204F-ABA7-30CBA739C3D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01477" y="4700419"/>
            <a:ext cx="1893455" cy="3127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32B211AD-4A3A-0F47-97B5-BEA7151AAB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36483" y="3946181"/>
            <a:ext cx="6338254" cy="555787"/>
          </a:xfrm>
        </p:spPr>
        <p:txBody>
          <a:bodyPr>
            <a:norm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26" name="Picture 25" descr="McGraw Hill red cube Logo">
            <a:extLst>
              <a:ext uri="{FF2B5EF4-FFF2-40B4-BE49-F238E27FC236}">
                <a16:creationId xmlns:a16="http://schemas.microsoft.com/office/drawing/2014/main" id="{A18E319A-A3FF-CB41-AC94-68C78BF6DA8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22872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Content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587A5945-13FE-A54A-B1D9-FD863F5E65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728663"/>
            <a:ext cx="6096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op Nav">
            <a:extLst>
              <a:ext uri="{FF2B5EF4-FFF2-40B4-BE49-F238E27FC236}">
                <a16:creationId xmlns:a16="http://schemas.microsoft.com/office/drawing/2014/main" id="{5FF64314-768A-094E-8D3E-792A346992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rgbClr val="E21A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6D0734D5-ECCE-EE43-AEEC-6D640277C70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Column 1">
            <a:extLst>
              <a:ext uri="{FF2B5EF4-FFF2-40B4-BE49-F238E27FC236}">
                <a16:creationId xmlns:a16="http://schemas.microsoft.com/office/drawing/2014/main" id="{6BC6A701-16E4-384A-B480-07F21A4EB64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756529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3" name="Headline 2">
            <a:extLst>
              <a:ext uri="{FF2B5EF4-FFF2-40B4-BE49-F238E27FC236}">
                <a16:creationId xmlns:a16="http://schemas.microsoft.com/office/drawing/2014/main" id="{5F149B35-BE87-6D4B-A76F-EE326743B20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56529" y="1689044"/>
            <a:ext cx="2540607" cy="52322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Title 24pt Bold</a:t>
            </a:r>
          </a:p>
        </p:txBody>
      </p:sp>
      <p:sp>
        <p:nvSpPr>
          <p:cNvPr id="14" name="Column 1">
            <a:extLst>
              <a:ext uri="{FF2B5EF4-FFF2-40B4-BE49-F238E27FC236}">
                <a16:creationId xmlns:a16="http://schemas.microsoft.com/office/drawing/2014/main" id="{8AAD9075-C0FD-4F01-4CCF-5A2EB367446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69051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0A8ABF64-91D8-2F48-97D4-73DC521F41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D147B5A1-6770-244F-90F9-39C7D7B4ED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0883309-70D3-0340-B14E-BE30AF3BDB9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39548778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+ Image_RED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op Nav">
            <a:extLst>
              <a:ext uri="{FF2B5EF4-FFF2-40B4-BE49-F238E27FC236}">
                <a16:creationId xmlns:a16="http://schemas.microsoft.com/office/drawing/2014/main" id="{5FF64314-768A-094E-8D3E-792A346992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rgbClr val="E21A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6D0734D5-ECCE-EE43-AEEC-6D640277C70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4B65D06A-C660-304A-BF51-E53969C245E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096000" y="723900"/>
            <a:ext cx="6096000" cy="61341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Column 1">
            <a:extLst>
              <a:ext uri="{FF2B5EF4-FFF2-40B4-BE49-F238E27FC236}">
                <a16:creationId xmlns:a16="http://schemas.microsoft.com/office/drawing/2014/main" id="{A407A57A-3991-234C-BB4D-C76AA722410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1435" y="2248300"/>
            <a:ext cx="4647804" cy="429260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ts val="196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We do not advise to change color and size of font from what is displayed to abide by accessibility guidance. </a:t>
            </a:r>
          </a:p>
          <a:p>
            <a:pPr marL="285750" marR="0" lvl="0" indent="-285750" algn="l" defTabSz="914400" rtl="0" eaLnBrk="1" fontAlgn="auto" latinLnBrk="0" hangingPunct="1">
              <a:lnSpc>
                <a:spcPts val="196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.</a:t>
            </a:r>
          </a:p>
          <a:p>
            <a:pPr marL="285750" marR="0" lvl="0" indent="-285750" algn="l" defTabSz="914400" rtl="0" eaLnBrk="1" fontAlgn="auto" latinLnBrk="0" hangingPunct="1">
              <a:lnSpc>
                <a:spcPts val="196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.</a:t>
            </a:r>
          </a:p>
          <a:p>
            <a:pPr marL="285750" marR="0" lvl="0" indent="-285750" algn="l" defTabSz="914400" rtl="0" eaLnBrk="1" fontAlgn="auto" latinLnBrk="0" hangingPunct="1">
              <a:lnSpc>
                <a:spcPts val="196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.</a:t>
            </a:r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157613E3-528C-4B48-962F-218DA3062E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D147B5A1-6770-244F-90F9-39C7D7B4ED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A4341A4-E791-D44E-AC57-83B8D4678AE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18412707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with Image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25C50BE7-02B9-E94F-82D1-CA65C5808638}"/>
              </a:ext>
            </a:extLst>
          </p:cNvPr>
          <p:cNvSpPr/>
          <p:nvPr userDrawn="1"/>
        </p:nvSpPr>
        <p:spPr>
          <a:xfrm>
            <a:off x="0" y="-1"/>
            <a:ext cx="12192000" cy="6860093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  </a:t>
            </a: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CFEC3F10-5F67-304B-8825-308AD531CD0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C58AD3BE-D6CF-A64B-8811-9A8A9093BA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362867" y="-3"/>
            <a:ext cx="11734660" cy="6349157"/>
            <a:chOff x="362867" y="-3"/>
            <a:chExt cx="11734660" cy="6349157"/>
          </a:xfrm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0D9449F4-DDDA-2940-AC8E-5A8EB963E028}"/>
                </a:ext>
              </a:extLst>
            </p:cNvPr>
            <p:cNvSpPr/>
            <p:nvPr/>
          </p:nvSpPr>
          <p:spPr>
            <a:xfrm>
              <a:off x="362867" y="6136112"/>
              <a:ext cx="10780357" cy="21304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39977B72-DEEB-B642-B055-A1FC830C6F22}"/>
                </a:ext>
              </a:extLst>
            </p:cNvPr>
            <p:cNvSpPr/>
            <p:nvPr/>
          </p:nvSpPr>
          <p:spPr>
            <a:xfrm rot="16200000">
              <a:off x="9515714" y="4721644"/>
              <a:ext cx="3025021" cy="22999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A49CCB56-97C4-D743-80FD-7AEEF01BDBA1}"/>
                </a:ext>
              </a:extLst>
            </p:cNvPr>
            <p:cNvSpPr/>
            <p:nvPr/>
          </p:nvSpPr>
          <p:spPr>
            <a:xfrm>
              <a:off x="9502377" y="3324133"/>
              <a:ext cx="1640847" cy="22414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6888F149-DAA2-B848-801A-FCC1422F3B96}"/>
                </a:ext>
              </a:extLst>
            </p:cNvPr>
            <p:cNvSpPr/>
            <p:nvPr/>
          </p:nvSpPr>
          <p:spPr>
            <a:xfrm rot="16200000">
              <a:off x="9188261" y="3004154"/>
              <a:ext cx="858236" cy="23000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DA3E8350-CB13-2444-ACBA-9CB24416579D}"/>
                </a:ext>
              </a:extLst>
            </p:cNvPr>
            <p:cNvGrpSpPr/>
            <p:nvPr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solidFill>
              <a:schemeClr val="bg1"/>
            </a:solidFill>
          </p:grpSpPr>
          <p:sp>
            <p:nvSpPr>
              <p:cNvPr id="35" name="Parallelogram 34">
                <a:extLst>
                  <a:ext uri="{FF2B5EF4-FFF2-40B4-BE49-F238E27FC236}">
                    <a16:creationId xmlns:a16="http://schemas.microsoft.com/office/drawing/2014/main" id="{54F2EC11-B068-3749-B697-AB996FFEBDD7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Parallelogram 35">
                <a:extLst>
                  <a:ext uri="{FF2B5EF4-FFF2-40B4-BE49-F238E27FC236}">
                    <a16:creationId xmlns:a16="http://schemas.microsoft.com/office/drawing/2014/main" id="{6D7DAAF6-5C60-8E42-8F56-8A59D01DAFF5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3A0D68A-64DE-034D-A0D9-7DBB1C30BD44}"/>
                </a:ext>
              </a:extLst>
            </p:cNvPr>
            <p:cNvSpPr/>
            <p:nvPr/>
          </p:nvSpPr>
          <p:spPr>
            <a:xfrm rot="8100000">
              <a:off x="9147057" y="1613790"/>
              <a:ext cx="2950470" cy="22414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D427200B-3CEF-4543-AFE8-A349D401B181}"/>
                </a:ext>
              </a:extLst>
            </p:cNvPr>
            <p:cNvSpPr/>
            <p:nvPr userDrawn="1"/>
          </p:nvSpPr>
          <p:spPr>
            <a:xfrm rot="16200000">
              <a:off x="-2696712" y="3059577"/>
              <a:ext cx="6349157" cy="22999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5" name="Rectangle 44">
            <a:extLst>
              <a:ext uri="{FF2B5EF4-FFF2-40B4-BE49-F238E27FC236}">
                <a16:creationId xmlns:a16="http://schemas.microsoft.com/office/drawing/2014/main" id="{546F528F-8FD7-0046-8513-FB61348B37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4023448"/>
            <a:ext cx="5144767" cy="923533"/>
          </a:xfrm>
          <a:prstGeom prst="rect">
            <a:avLst/>
          </a:prstGeom>
          <a:solidFill>
            <a:schemeClr val="accent3"/>
          </a:solidFill>
          <a:ln w="9525">
            <a:solidFill>
              <a:srgbClr val="5F14C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FABC2A16-3F7C-3046-969E-5B8D87BD37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1436453"/>
            <a:ext cx="5144874" cy="2580258"/>
          </a:xfrm>
          <a:prstGeom prst="rect">
            <a:avLst/>
          </a:prstGeom>
          <a:solidFill>
            <a:schemeClr val="accent3"/>
          </a:solidFill>
          <a:ln w="9525">
            <a:solidFill>
              <a:srgbClr val="5F14C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7E67ABFC-699A-5442-B333-C5B9BFC1B62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59041" y="2830679"/>
            <a:ext cx="3121683" cy="402732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0" name="Numeral Date">
            <a:extLst>
              <a:ext uri="{FF2B5EF4-FFF2-40B4-BE49-F238E27FC236}">
                <a16:creationId xmlns:a16="http://schemas.microsoft.com/office/drawing/2014/main" id="{80B0E6A2-D15A-844C-BC00-3E06BA55C9F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08087" y="4512640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31" name="Name &amp; Surname">
            <a:extLst>
              <a:ext uri="{FF2B5EF4-FFF2-40B4-BE49-F238E27FC236}">
                <a16:creationId xmlns:a16="http://schemas.microsoft.com/office/drawing/2014/main" id="{4A623C1E-7ACF-624F-925D-EE13A08C6D7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08087" y="4122407"/>
            <a:ext cx="4887913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48" name="Subtitle">
            <a:extLst>
              <a:ext uri="{FF2B5EF4-FFF2-40B4-BE49-F238E27FC236}">
                <a16:creationId xmlns:a16="http://schemas.microsoft.com/office/drawing/2014/main" id="{C521F783-BD0D-4E45-AF8D-244BD4F7094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08087" y="3139278"/>
            <a:ext cx="4533631" cy="72398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 Sample 2 Lines Lorem Ipsum Dolore</a:t>
            </a:r>
          </a:p>
        </p:txBody>
      </p:sp>
      <p:sp>
        <p:nvSpPr>
          <p:cNvPr id="22" name="Title 2">
            <a:extLst>
              <a:ext uri="{FF2B5EF4-FFF2-40B4-BE49-F238E27FC236}">
                <a16:creationId xmlns:a16="http://schemas.microsoft.com/office/drawing/2014/main" id="{518E6496-8922-7A41-B98C-68CD630298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2983" y="1605014"/>
            <a:ext cx="4831300" cy="142057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44" name="Picture 43" descr="McGraw Hill red cube Logo">
            <a:extLst>
              <a:ext uri="{FF2B5EF4-FFF2-40B4-BE49-F238E27FC236}">
                <a16:creationId xmlns:a16="http://schemas.microsoft.com/office/drawing/2014/main" id="{AD397FEF-023D-054E-ACC9-0270E3770C3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915504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+ Image_RED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EA91B10F-EC0D-C943-A3BF-5EA4083470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971799" y="728662"/>
            <a:ext cx="9220200" cy="61314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05E1BBCE-1234-3F43-9A61-5DFC3A3C1E18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Body Text">
            <a:extLst>
              <a:ext uri="{FF2B5EF4-FFF2-40B4-BE49-F238E27FC236}">
                <a16:creationId xmlns:a16="http://schemas.microsoft.com/office/drawing/2014/main" id="{A78ABDEE-3F66-9544-9A11-A8EE097D130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06850" y="2305229"/>
            <a:ext cx="6459054" cy="3699165"/>
          </a:xfrm>
          <a:prstGeom prst="rect">
            <a:avLst/>
          </a:prstGeom>
        </p:spPr>
        <p:txBody>
          <a:bodyPr>
            <a:normAutofit/>
          </a:bodyPr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>
              <a:spcBef>
                <a:spcPts val="1200"/>
              </a:spcBef>
            </a:pP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 do not advise to change color and size of font from what is displayed to abide by accessibility guidance. </a:t>
            </a:r>
          </a:p>
          <a:p>
            <a:pPr>
              <a:spcBef>
                <a:spcPts val="1200"/>
              </a:spcBef>
            </a:pP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amet, consectetuer adipiscing elit, sed diam nonummy nibh euismod tincidunt ut laoreet dolore magna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rat volutpat. </a:t>
            </a:r>
          </a:p>
          <a:p>
            <a:pPr>
              <a:spcBef>
                <a:spcPts val="1200"/>
              </a:spcBef>
            </a:pP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si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i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d minim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i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trud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rci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tion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llamcorper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scipit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bortis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ut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ip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x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modo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equat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i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trud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>
              <a:spcBef>
                <a:spcPts val="1200"/>
              </a:spcBef>
            </a:pP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nummy nibh euismod tincidunt ut laoreet dolore magna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rat volutpat. Ut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si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i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d minim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i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trud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rci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>
              <a:spcBef>
                <a:spcPts val="1200"/>
              </a:spcBef>
            </a:pPr>
            <a:endParaRPr lang="en-US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C129857A-4191-9E44-B536-ECD8F78696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06850" y="1404902"/>
            <a:ext cx="5729288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D50FC85D-27CD-FF4D-8BFA-DF4E67E5B43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728663"/>
            <a:ext cx="2971799" cy="612933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3" name="Chapter Title">
            <a:extLst>
              <a:ext uri="{FF2B5EF4-FFF2-40B4-BE49-F238E27FC236}">
                <a16:creationId xmlns:a16="http://schemas.microsoft.com/office/drawing/2014/main" id="{092D0355-EC65-A840-8C46-2F2D005A4B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F5827C1-94DC-5940-A85A-10CDA96F28B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19213483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Content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op Nav">
            <a:extLst>
              <a:ext uri="{FF2B5EF4-FFF2-40B4-BE49-F238E27FC236}">
                <a16:creationId xmlns:a16="http://schemas.microsoft.com/office/drawing/2014/main" id="{506D94AE-6408-924A-9474-D9BFD3F46B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op Nav">
            <a:extLst>
              <a:ext uri="{FF2B5EF4-FFF2-40B4-BE49-F238E27FC236}">
                <a16:creationId xmlns:a16="http://schemas.microsoft.com/office/drawing/2014/main" id="{587A5945-13FE-A54A-B1D9-FD863F5E65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728662"/>
            <a:ext cx="6096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Pg">
            <a:extLst>
              <a:ext uri="{FF2B5EF4-FFF2-40B4-BE49-F238E27FC236}">
                <a16:creationId xmlns:a16="http://schemas.microsoft.com/office/drawing/2014/main" id="{4D0F0969-6A77-E9ED-7831-7B6D2742FDF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Column 1">
            <a:extLst>
              <a:ext uri="{FF2B5EF4-FFF2-40B4-BE49-F238E27FC236}">
                <a16:creationId xmlns:a16="http://schemas.microsoft.com/office/drawing/2014/main" id="{2F5662AF-7710-BD12-B3C3-E68E6BC6340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756529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Title 2">
            <a:extLst>
              <a:ext uri="{FF2B5EF4-FFF2-40B4-BE49-F238E27FC236}">
                <a16:creationId xmlns:a16="http://schemas.microsoft.com/office/drawing/2014/main" id="{56660D89-6935-0841-BD0F-E8303DE34F4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56529" y="1689044"/>
            <a:ext cx="2540607" cy="52322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Title 24pt Bold</a:t>
            </a:r>
          </a:p>
        </p:txBody>
      </p:sp>
      <p:sp>
        <p:nvSpPr>
          <p:cNvPr id="4" name="Column 1">
            <a:extLst>
              <a:ext uri="{FF2B5EF4-FFF2-40B4-BE49-F238E27FC236}">
                <a16:creationId xmlns:a16="http://schemas.microsoft.com/office/drawing/2014/main" id="{15B2D6D7-92FA-A341-4B7F-6F369242B26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69051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6CFA8719-8D5A-0F48-BF03-43422A7A51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12968A59-ECEF-5743-B06E-E7F185B3A6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A3BA688-9438-8D4E-8584-9C8619327D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14815806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+ Image_BLUE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op Nav">
            <a:extLst>
              <a:ext uri="{FF2B5EF4-FFF2-40B4-BE49-F238E27FC236}">
                <a16:creationId xmlns:a16="http://schemas.microsoft.com/office/drawing/2014/main" id="{506D94AE-6408-924A-9474-D9BFD3F46B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909D505E-311A-9742-9802-6BA20700E6E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C3E5E1A-83D6-C743-AA00-2266C72F07C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096000" y="723900"/>
            <a:ext cx="6096000" cy="61341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2" name="Column 1">
            <a:extLst>
              <a:ext uri="{FF2B5EF4-FFF2-40B4-BE49-F238E27FC236}">
                <a16:creationId xmlns:a16="http://schemas.microsoft.com/office/drawing/2014/main" id="{84811588-2F3A-374E-A3FD-346248EA134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1435" y="2248300"/>
            <a:ext cx="4647804" cy="429260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ts val="196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We do not advise to change color and size of font from what is displayed to abide by accessibility guidance. </a:t>
            </a:r>
          </a:p>
          <a:p>
            <a:pPr marL="285750" marR="0" lvl="0" indent="-285750" algn="l" defTabSz="914400" rtl="0" eaLnBrk="1" fontAlgn="auto" latinLnBrk="0" hangingPunct="1">
              <a:lnSpc>
                <a:spcPts val="196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.</a:t>
            </a:r>
          </a:p>
          <a:p>
            <a:pPr marL="285750" marR="0" lvl="0" indent="-285750" algn="l" defTabSz="914400" rtl="0" eaLnBrk="1" fontAlgn="auto" latinLnBrk="0" hangingPunct="1">
              <a:lnSpc>
                <a:spcPts val="196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.</a:t>
            </a:r>
          </a:p>
          <a:p>
            <a:pPr marL="285750" marR="0" lvl="0" indent="-285750" algn="l" defTabSz="914400" rtl="0" eaLnBrk="1" fontAlgn="auto" latinLnBrk="0" hangingPunct="1">
              <a:lnSpc>
                <a:spcPts val="196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.</a:t>
            </a:r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BA93A090-B6E4-C645-ACB7-BA8B5BBC56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12968A59-ECEF-5743-B06E-E7F185B3A6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39BB60C-87AB-3B4D-9FA6-2E22249D4D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22304930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+ Image_BLUE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EA91B10F-EC0D-C943-A3BF-5EA4083470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971799" y="728662"/>
            <a:ext cx="9220199" cy="6131437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BB24EE79-0614-1C44-9851-9AF8AE454754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Body text">
            <a:extLst>
              <a:ext uri="{FF2B5EF4-FFF2-40B4-BE49-F238E27FC236}">
                <a16:creationId xmlns:a16="http://schemas.microsoft.com/office/drawing/2014/main" id="{7BE2A8A8-9F48-D340-BBE6-3CCC22FF302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06850" y="2305229"/>
            <a:ext cx="6359663" cy="3699165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>
                <a:solidFill>
                  <a:schemeClr val="bg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We do not advise to change color and size of font from what is displayed to abide by accessibility guidance. </a:t>
            </a:r>
          </a:p>
          <a:p>
            <a:pPr>
              <a:spcBef>
                <a:spcPts val="1200"/>
              </a:spcBef>
            </a:pP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amet, consectetuer adipiscing elit, sed diam nonummy nibh euismod tincidunt ut laoreet dolore magna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rat volutpat. </a:t>
            </a:r>
          </a:p>
          <a:p>
            <a:pPr>
              <a:spcBef>
                <a:spcPts val="1200"/>
              </a:spcBef>
            </a:pP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si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i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d minim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i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trud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rci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tion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llamcorper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scipit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bortis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ut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ip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x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modo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equat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i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trud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>
              <a:spcBef>
                <a:spcPts val="1200"/>
              </a:spcBef>
            </a:pP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nummy nibh euismod tincidunt ut laoreet dolore magna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rat volutpat. Ut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si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i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d minim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i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trud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rci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56C2F877-471D-F64A-908A-B18F178596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06850" y="1404902"/>
            <a:ext cx="5729288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08187EC-ADB8-8D41-852E-6A8DD6FB361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728663"/>
            <a:ext cx="2971800" cy="612933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83F9BD00-9860-B24B-A115-ADCF1F873F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27715F7-79AE-4445-BAD3-85182EECDA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2596699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Content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587A5945-13FE-A54A-B1D9-FD863F5E65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728662"/>
            <a:ext cx="6096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op Nav">
            <a:extLst>
              <a:ext uri="{FF2B5EF4-FFF2-40B4-BE49-F238E27FC236}">
                <a16:creationId xmlns:a16="http://schemas.microsoft.com/office/drawing/2014/main" id="{5FF64314-768A-094E-8D3E-792A346992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Pg">
            <a:extLst>
              <a:ext uri="{FF2B5EF4-FFF2-40B4-BE49-F238E27FC236}">
                <a16:creationId xmlns:a16="http://schemas.microsoft.com/office/drawing/2014/main" id="{C4D0ECBF-4E72-77E1-6744-5633305B89FA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Column 1">
            <a:extLst>
              <a:ext uri="{FF2B5EF4-FFF2-40B4-BE49-F238E27FC236}">
                <a16:creationId xmlns:a16="http://schemas.microsoft.com/office/drawing/2014/main" id="{06282726-7744-71C7-52A7-0E097341F0F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756529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Headline 2">
            <a:extLst>
              <a:ext uri="{FF2B5EF4-FFF2-40B4-BE49-F238E27FC236}">
                <a16:creationId xmlns:a16="http://schemas.microsoft.com/office/drawing/2014/main" id="{3B9320FD-ECFE-2547-B24C-41807BE745F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56529" y="1689044"/>
            <a:ext cx="2540607" cy="52322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Title 24pt Bold</a:t>
            </a:r>
          </a:p>
        </p:txBody>
      </p:sp>
      <p:sp>
        <p:nvSpPr>
          <p:cNvPr id="4" name="Column 1">
            <a:extLst>
              <a:ext uri="{FF2B5EF4-FFF2-40B4-BE49-F238E27FC236}">
                <a16:creationId xmlns:a16="http://schemas.microsoft.com/office/drawing/2014/main" id="{26A6B253-D5CC-3F6C-B9F3-19D60636686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69051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6E612916-D698-B646-8E99-73538FEC08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Chapter Title">
            <a:extLst>
              <a:ext uri="{FF2B5EF4-FFF2-40B4-BE49-F238E27FC236}">
                <a16:creationId xmlns:a16="http://schemas.microsoft.com/office/drawing/2014/main" id="{3B15BE9E-15AB-6248-BC6C-65FA9B4190C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7D7113C-B06C-114F-9BC4-D9927D5EDD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5070160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List_BLUE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C7C5E04-8E76-B248-8774-9FFC64C5F1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C5BE4A64-884B-5841-B4CC-BBBF316FD7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11234F79-2BE8-2C4C-ADCD-CBDE0C61CBF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8176B59D-8851-AB40-AB81-6FD2A69F4F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11678EC7-A5CF-9448-B748-B101B6E7CC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8779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 – Text Heavy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hapter Title">
            <a:extLst>
              <a:ext uri="{FF2B5EF4-FFF2-40B4-BE49-F238E27FC236}">
                <a16:creationId xmlns:a16="http://schemas.microsoft.com/office/drawing/2014/main" id="{6270A90D-500C-E74E-8060-95448D45EE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47549A0-DD2F-6C43-86AE-FF641D1700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Pg">
            <a:extLst>
              <a:ext uri="{FF2B5EF4-FFF2-40B4-BE49-F238E27FC236}">
                <a16:creationId xmlns:a16="http://schemas.microsoft.com/office/drawing/2014/main" id="{BF1DBC1E-7F69-B843-B19E-79A078D9478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AF4E5FD-8EB6-BE45-B712-8F1275A7C8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Column 1">
            <a:extLst>
              <a:ext uri="{FF2B5EF4-FFF2-40B4-BE49-F238E27FC236}">
                <a16:creationId xmlns:a16="http://schemas.microsoft.com/office/drawing/2014/main" id="{D98A9DBF-922D-A54A-AEA9-91C2162DC5F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34" y="1736496"/>
            <a:ext cx="3201988" cy="43740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r>
              <a:rPr lang="en-US" b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/>
              <a:t>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  <a:p>
            <a:pPr lvl="0"/>
            <a:endParaRPr lang="en-US"/>
          </a:p>
        </p:txBody>
      </p:sp>
      <p:sp>
        <p:nvSpPr>
          <p:cNvPr id="16" name="Column 2">
            <a:extLst>
              <a:ext uri="{FF2B5EF4-FFF2-40B4-BE49-F238E27FC236}">
                <a16:creationId xmlns:a16="http://schemas.microsoft.com/office/drawing/2014/main" id="{6F862A84-E061-8143-BCE7-4C9B9A9B5E5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99078" y="1738591"/>
            <a:ext cx="6053560" cy="4168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lacini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, convallis a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ell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raesen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mass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convallis 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ellentesqu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sta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non nis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lementu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du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urbi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rcu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ccumsa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imperdi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et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at sem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4068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3336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 Slide_with Image and Path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op Nav">
            <a:extLst>
              <a:ext uri="{FF2B5EF4-FFF2-40B4-BE49-F238E27FC236}">
                <a16:creationId xmlns:a16="http://schemas.microsoft.com/office/drawing/2014/main" id="{B0DBB454-2923-D247-A793-2E1AD83EDC61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896931D-0790-784E-B4DB-8ED1ACF4477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 flipH="1">
            <a:off x="1" y="3321724"/>
            <a:ext cx="12191998" cy="3027950"/>
            <a:chOff x="1" y="2621937"/>
            <a:chExt cx="12191998" cy="3027950"/>
          </a:xfrm>
        </p:grpSpPr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55043362-8F75-0745-A63A-7834495F8714}"/>
                </a:ext>
              </a:extLst>
            </p:cNvPr>
            <p:cNvGrpSpPr/>
            <p:nvPr userDrawn="1"/>
          </p:nvGrpSpPr>
          <p:grpSpPr>
            <a:xfrm>
              <a:off x="1" y="2621937"/>
              <a:ext cx="2001201" cy="233422"/>
              <a:chOff x="0" y="2656480"/>
              <a:chExt cx="9572617" cy="233422"/>
            </a:xfrm>
          </p:grpSpPr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3E66ECAB-7133-AD4B-B0EE-28A4BEF04CAC}"/>
                  </a:ext>
                </a:extLst>
              </p:cNvPr>
              <p:cNvSpPr/>
              <p:nvPr userDrawn="1"/>
            </p:nvSpPr>
            <p:spPr>
              <a:xfrm>
                <a:off x="0" y="2656480"/>
                <a:ext cx="9572617" cy="116711"/>
              </a:xfrm>
              <a:prstGeom prst="rect">
                <a:avLst/>
              </a:prstGeom>
              <a:solidFill>
                <a:srgbClr val="06235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1C11623C-AC1A-4A43-A565-9255506E6567}"/>
                  </a:ext>
                </a:extLst>
              </p:cNvPr>
              <p:cNvSpPr/>
              <p:nvPr userDrawn="1"/>
            </p:nvSpPr>
            <p:spPr>
              <a:xfrm>
                <a:off x="0" y="2773191"/>
                <a:ext cx="9572617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A8D16141-CCAB-0746-8535-98B2E101BCFA}"/>
                </a:ext>
              </a:extLst>
            </p:cNvPr>
            <p:cNvGrpSpPr/>
            <p:nvPr userDrawn="1"/>
          </p:nvGrpSpPr>
          <p:grpSpPr>
            <a:xfrm rot="5400000">
              <a:off x="428932" y="4077616"/>
              <a:ext cx="2911120" cy="233422"/>
              <a:chOff x="0" y="2656480"/>
              <a:chExt cx="9572617" cy="233422"/>
            </a:xfrm>
          </p:grpSpPr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952A5FA2-4E0D-C54C-BB84-BDD6D943E8D4}"/>
                  </a:ext>
                </a:extLst>
              </p:cNvPr>
              <p:cNvSpPr/>
              <p:nvPr userDrawn="1"/>
            </p:nvSpPr>
            <p:spPr>
              <a:xfrm>
                <a:off x="0" y="2656480"/>
                <a:ext cx="9572617" cy="116711"/>
              </a:xfrm>
              <a:prstGeom prst="rect">
                <a:avLst/>
              </a:prstGeom>
              <a:solidFill>
                <a:srgbClr val="06235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CC389AD1-AB5B-BD49-AB38-9B9B1604791E}"/>
                  </a:ext>
                </a:extLst>
              </p:cNvPr>
              <p:cNvSpPr/>
              <p:nvPr userDrawn="1"/>
            </p:nvSpPr>
            <p:spPr>
              <a:xfrm>
                <a:off x="0" y="2773191"/>
                <a:ext cx="9572617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1969F282-EF38-FC40-905F-6E5D77FB9041}"/>
                </a:ext>
              </a:extLst>
            </p:cNvPr>
            <p:cNvGrpSpPr/>
            <p:nvPr userDrawn="1"/>
          </p:nvGrpSpPr>
          <p:grpSpPr>
            <a:xfrm>
              <a:off x="1884490" y="5416463"/>
              <a:ext cx="10307509" cy="233422"/>
              <a:chOff x="0" y="2656480"/>
              <a:chExt cx="9572617" cy="233422"/>
            </a:xfrm>
          </p:grpSpPr>
          <p:sp>
            <p:nvSpPr>
              <p:cNvPr id="46" name="Rectangle 45">
                <a:extLst>
                  <a:ext uri="{FF2B5EF4-FFF2-40B4-BE49-F238E27FC236}">
                    <a16:creationId xmlns:a16="http://schemas.microsoft.com/office/drawing/2014/main" id="{EFC2C7F0-EC9D-D44C-B4DD-06FE6C88E716}"/>
                  </a:ext>
                </a:extLst>
              </p:cNvPr>
              <p:cNvSpPr/>
              <p:nvPr userDrawn="1"/>
            </p:nvSpPr>
            <p:spPr>
              <a:xfrm>
                <a:off x="0" y="2656480"/>
                <a:ext cx="9572617" cy="116711"/>
              </a:xfrm>
              <a:prstGeom prst="rect">
                <a:avLst/>
              </a:prstGeom>
              <a:solidFill>
                <a:srgbClr val="06235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7" name="Rectangle 46">
                <a:extLst>
                  <a:ext uri="{FF2B5EF4-FFF2-40B4-BE49-F238E27FC236}">
                    <a16:creationId xmlns:a16="http://schemas.microsoft.com/office/drawing/2014/main" id="{F7BDA258-0A0D-F741-9901-55DEAA79A460}"/>
                  </a:ext>
                </a:extLst>
              </p:cNvPr>
              <p:cNvSpPr/>
              <p:nvPr userDrawn="1"/>
            </p:nvSpPr>
            <p:spPr>
              <a:xfrm>
                <a:off x="0" y="2773191"/>
                <a:ext cx="9572617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3F5B8D5-712F-414E-A26F-6FA978D44C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7" name="Chapter Title">
            <a:extLst>
              <a:ext uri="{FF2B5EF4-FFF2-40B4-BE49-F238E27FC236}">
                <a16:creationId xmlns:a16="http://schemas.microsoft.com/office/drawing/2014/main" id="{D7037DB2-618C-FC4F-9EF6-9DD3982345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48" name="Pg">
            <a:extLst>
              <a:ext uri="{FF2B5EF4-FFF2-40B4-BE49-F238E27FC236}">
                <a16:creationId xmlns:a16="http://schemas.microsoft.com/office/drawing/2014/main" id="{75E0C428-3E02-FA42-99AF-95E6B1BE2533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D785BAF5-3D1A-EB44-9381-2C704C2238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7450" y="958960"/>
            <a:ext cx="5729288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30" name="01">
            <a:extLst>
              <a:ext uri="{FF2B5EF4-FFF2-40B4-BE49-F238E27FC236}">
                <a16:creationId xmlns:a16="http://schemas.microsoft.com/office/drawing/2014/main" id="{C7460D23-DB38-E34B-9711-F933BB9213C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0351" y="1813832"/>
            <a:ext cx="548845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5" name="Headline 1">
            <a:extLst>
              <a:ext uri="{FF2B5EF4-FFF2-40B4-BE49-F238E27FC236}">
                <a16:creationId xmlns:a16="http://schemas.microsoft.com/office/drawing/2014/main" id="{8E9BAA1C-DF88-B445-9BDF-5E8FB00ADB6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99197" y="1813832"/>
            <a:ext cx="3033712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50" name="Copy 1">
            <a:extLst>
              <a:ext uri="{FF2B5EF4-FFF2-40B4-BE49-F238E27FC236}">
                <a16:creationId xmlns:a16="http://schemas.microsoft.com/office/drawing/2014/main" id="{238D5C13-6BC6-864C-852E-088734E0F5B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212671" y="2265940"/>
            <a:ext cx="4241637" cy="42065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>
              <a:spcBef>
                <a:spcPts val="1200"/>
              </a:spcBef>
            </a:pP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 do not advise to change color and size of font from what is displayed to abide by accessibility guidance. </a:t>
            </a:r>
          </a:p>
        </p:txBody>
      </p:sp>
      <p:sp>
        <p:nvSpPr>
          <p:cNvPr id="33" name="02">
            <a:extLst>
              <a:ext uri="{FF2B5EF4-FFF2-40B4-BE49-F238E27FC236}">
                <a16:creationId xmlns:a16="http://schemas.microsoft.com/office/drawing/2014/main" id="{502F8C79-77C0-5C48-867D-B292CA3E5A1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7450" y="3291803"/>
            <a:ext cx="548845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32" name="Headline 2">
            <a:extLst>
              <a:ext uri="{FF2B5EF4-FFF2-40B4-BE49-F238E27FC236}">
                <a16:creationId xmlns:a16="http://schemas.microsoft.com/office/drawing/2014/main" id="{1217D55F-AC99-6C4B-A91A-B525B2F82D0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206296" y="3291803"/>
            <a:ext cx="3033712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69" name="Copy 2">
            <a:extLst>
              <a:ext uri="{FF2B5EF4-FFF2-40B4-BE49-F238E27FC236}">
                <a16:creationId xmlns:a16="http://schemas.microsoft.com/office/drawing/2014/main" id="{6B38AE9F-747B-2849-9A2B-8E78114D04B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199196" y="3698521"/>
            <a:ext cx="4241637" cy="92882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timeam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pri</a:t>
            </a:r>
            <a:r>
              <a:rPr lang="en-US"/>
              <a:t>,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sole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 ex. Sea </a:t>
            </a:r>
            <a:r>
              <a:rPr lang="en-US" err="1"/>
              <a:t>mollis</a:t>
            </a:r>
            <a:r>
              <a:rPr lang="en-US"/>
              <a:t> </a:t>
            </a:r>
            <a:r>
              <a:rPr lang="en-US" err="1"/>
              <a:t>pertinax</a:t>
            </a:r>
            <a:r>
              <a:rPr lang="en-US"/>
              <a:t> </a:t>
            </a:r>
            <a:r>
              <a:rPr lang="en-US" err="1"/>
              <a:t>assentior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, vim.</a:t>
            </a:r>
          </a:p>
        </p:txBody>
      </p:sp>
      <p:sp>
        <p:nvSpPr>
          <p:cNvPr id="36" name="03">
            <a:extLst>
              <a:ext uri="{FF2B5EF4-FFF2-40B4-BE49-F238E27FC236}">
                <a16:creationId xmlns:a16="http://schemas.microsoft.com/office/drawing/2014/main" id="{8C7E74A7-FBB4-F44D-9FD3-F3C86CE25C9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8563" y="4758717"/>
            <a:ext cx="548845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38" name="Headline 3">
            <a:extLst>
              <a:ext uri="{FF2B5EF4-FFF2-40B4-BE49-F238E27FC236}">
                <a16:creationId xmlns:a16="http://schemas.microsoft.com/office/drawing/2014/main" id="{A5C9EDD8-7B5C-B14B-A1FE-E4BC3B6F3C0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206296" y="4752591"/>
            <a:ext cx="3033712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70" name="Copy 3">
            <a:extLst>
              <a:ext uri="{FF2B5EF4-FFF2-40B4-BE49-F238E27FC236}">
                <a16:creationId xmlns:a16="http://schemas.microsoft.com/office/drawing/2014/main" id="{C2895A15-FE9A-7A4F-8035-F76C77E050E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212671" y="5182326"/>
            <a:ext cx="4241637" cy="92882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timeam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pri</a:t>
            </a:r>
            <a:r>
              <a:rPr lang="en-US"/>
              <a:t>,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sole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 ex. Sea </a:t>
            </a:r>
            <a:r>
              <a:rPr lang="en-US" err="1"/>
              <a:t>mollis</a:t>
            </a:r>
            <a:r>
              <a:rPr lang="en-US"/>
              <a:t> </a:t>
            </a:r>
            <a:r>
              <a:rPr lang="en-US" err="1"/>
              <a:t>pertinax</a:t>
            </a:r>
            <a:r>
              <a:rPr lang="en-US"/>
              <a:t> </a:t>
            </a:r>
            <a:r>
              <a:rPr lang="en-US" err="1"/>
              <a:t>assentior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, vim.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EC093DB3-273B-AF41-9798-B6C4095D961A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6935788" y="1746250"/>
            <a:ext cx="4148137" cy="51117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73459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 Slide_with Image_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op Nav">
            <a:extLst>
              <a:ext uri="{FF2B5EF4-FFF2-40B4-BE49-F238E27FC236}">
                <a16:creationId xmlns:a16="http://schemas.microsoft.com/office/drawing/2014/main" id="{4F65DF74-35BF-374C-8CF0-E5D7AB09DDE3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613287A0-C8FD-6449-8310-14600C68CD7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3321723"/>
            <a:ext cx="12192000" cy="3027951"/>
            <a:chOff x="0" y="2621937"/>
            <a:chExt cx="12192000" cy="3027951"/>
          </a:xfrm>
          <a:solidFill>
            <a:schemeClr val="accent1"/>
          </a:solidFill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8A87DFCB-27DE-CA43-932D-377A4B7A96E8}"/>
                </a:ext>
              </a:extLst>
            </p:cNvPr>
            <p:cNvSpPr/>
            <p:nvPr userDrawn="1"/>
          </p:nvSpPr>
          <p:spPr>
            <a:xfrm>
              <a:off x="0" y="2621937"/>
              <a:ext cx="1821468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EF4C1B40-A6DC-E140-A12A-4D94A2DA9CA4}"/>
                </a:ext>
              </a:extLst>
            </p:cNvPr>
            <p:cNvSpPr/>
            <p:nvPr userDrawn="1"/>
          </p:nvSpPr>
          <p:spPr>
            <a:xfrm rot="5400000">
              <a:off x="372227" y="4020914"/>
              <a:ext cx="3027951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3F788E9F-4D6F-FC49-AFFB-0DB170A87861}"/>
                </a:ext>
              </a:extLst>
            </p:cNvPr>
            <p:cNvSpPr/>
            <p:nvPr userDrawn="1"/>
          </p:nvSpPr>
          <p:spPr>
            <a:xfrm>
              <a:off x="1810327" y="5419887"/>
              <a:ext cx="10381673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DD26904-2D64-A041-AED1-1566B3F825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2" name="Chapter Title">
            <a:extLst>
              <a:ext uri="{FF2B5EF4-FFF2-40B4-BE49-F238E27FC236}">
                <a16:creationId xmlns:a16="http://schemas.microsoft.com/office/drawing/2014/main" id="{9A5F8572-960D-D448-90C2-B30ED42846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3" name="Pg">
            <a:extLst>
              <a:ext uri="{FF2B5EF4-FFF2-40B4-BE49-F238E27FC236}">
                <a16:creationId xmlns:a16="http://schemas.microsoft.com/office/drawing/2014/main" id="{48342CED-001C-AD48-8427-D341DEBD80C9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5B0E7CBC-867F-A54C-812D-51EB02B0D0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04895" y="958960"/>
            <a:ext cx="4796859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38" name="01">
            <a:extLst>
              <a:ext uri="{FF2B5EF4-FFF2-40B4-BE49-F238E27FC236}">
                <a16:creationId xmlns:a16="http://schemas.microsoft.com/office/drawing/2014/main" id="{4DD26A78-8BCB-B24A-B98B-D3C5C720142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697796" y="1718735"/>
            <a:ext cx="548845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37" name="Headline 1">
            <a:extLst>
              <a:ext uri="{FF2B5EF4-FFF2-40B4-BE49-F238E27FC236}">
                <a16:creationId xmlns:a16="http://schemas.microsoft.com/office/drawing/2014/main" id="{F77579FA-E0A6-BE4E-B83A-0F7305BA495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246642" y="1718735"/>
            <a:ext cx="3033712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39" name="Copy 1">
            <a:extLst>
              <a:ext uri="{FF2B5EF4-FFF2-40B4-BE49-F238E27FC236}">
                <a16:creationId xmlns:a16="http://schemas.microsoft.com/office/drawing/2014/main" id="{2388C246-4C64-A44F-961B-615B097BA7B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253018" y="2156391"/>
            <a:ext cx="4241637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 do not advise to change color and size of font from what is displayed to abide by accessibility guidance. </a:t>
            </a:r>
          </a:p>
          <a:p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02">
            <a:extLst>
              <a:ext uri="{FF2B5EF4-FFF2-40B4-BE49-F238E27FC236}">
                <a16:creationId xmlns:a16="http://schemas.microsoft.com/office/drawing/2014/main" id="{830944A2-8584-BC4A-92AA-32D0B4464AF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704895" y="3196706"/>
            <a:ext cx="548845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40" name="Headline 2">
            <a:extLst>
              <a:ext uri="{FF2B5EF4-FFF2-40B4-BE49-F238E27FC236}">
                <a16:creationId xmlns:a16="http://schemas.microsoft.com/office/drawing/2014/main" id="{FDD69F5D-AB79-3845-A6F2-385D5C5B1B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53741" y="3196706"/>
            <a:ext cx="3033712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42" name="Copy 2">
            <a:extLst>
              <a:ext uri="{FF2B5EF4-FFF2-40B4-BE49-F238E27FC236}">
                <a16:creationId xmlns:a16="http://schemas.microsoft.com/office/drawing/2014/main" id="{3D89D222-7622-9044-A731-85FC8011D9A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60117" y="3634362"/>
            <a:ext cx="4241637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meam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lestie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let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venire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x. Sea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llis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tinax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sentior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vim.</a:t>
            </a:r>
          </a:p>
          <a:p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03">
            <a:extLst>
              <a:ext uri="{FF2B5EF4-FFF2-40B4-BE49-F238E27FC236}">
                <a16:creationId xmlns:a16="http://schemas.microsoft.com/office/drawing/2014/main" id="{A0717EC4-4CFA-3746-A443-E79E29767C5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06008" y="4654382"/>
            <a:ext cx="548845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45" name="Headline 3">
            <a:extLst>
              <a:ext uri="{FF2B5EF4-FFF2-40B4-BE49-F238E27FC236}">
                <a16:creationId xmlns:a16="http://schemas.microsoft.com/office/drawing/2014/main" id="{0D57046F-F33F-6840-BE9B-EAD06F2C968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53741" y="4657494"/>
            <a:ext cx="3033712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44" name="Copy 3">
            <a:extLst>
              <a:ext uri="{FF2B5EF4-FFF2-40B4-BE49-F238E27FC236}">
                <a16:creationId xmlns:a16="http://schemas.microsoft.com/office/drawing/2014/main" id="{4F9721F3-9853-5247-BD5C-9420E958AD3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261230" y="5092596"/>
            <a:ext cx="4241637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meam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lestie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let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venire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x. Sea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llis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tinax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sentior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vim.</a:t>
            </a:r>
          </a:p>
          <a:p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6C6DB3A7-20E0-684E-9A74-A2BF27E7FB5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1069975" y="1373188"/>
            <a:ext cx="4438650" cy="548481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31963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_with Image + Copy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9255815" y="757008"/>
            <a:ext cx="2936186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EB06EC3-1936-BF49-B989-AE8ADD23132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E3F328E6-25F0-BD44-A497-CAA2D0BA73DA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4B12A726-D813-1B48-A198-EE44A52DA9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20" name="Column 1">
            <a:extLst>
              <a:ext uri="{FF2B5EF4-FFF2-40B4-BE49-F238E27FC236}">
                <a16:creationId xmlns:a16="http://schemas.microsoft.com/office/drawing/2014/main" id="{A6CC86E6-0270-1A46-AD68-EA5815E0155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7" name="Column 2">
            <a:extLst>
              <a:ext uri="{FF2B5EF4-FFF2-40B4-BE49-F238E27FC236}">
                <a16:creationId xmlns:a16="http://schemas.microsoft.com/office/drawing/2014/main" id="{1658EE3A-E60D-054C-BC6C-D3AC430DED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2836D77-0D00-81FC-192F-18388A3072B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798" cy="4871033"/>
          </a:xfrm>
          <a:prstGeom prst="rect">
            <a:avLst/>
          </a:prstGeom>
        </p:spPr>
      </p:pic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7219950" y="1203325"/>
            <a:ext cx="4383088" cy="56546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9771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with Imag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9F3E537-3F47-CF42-9252-F6DE9E8EFAA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5B3A0F1F-6CC0-9C4A-B3F4-21446A21E2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507347"/>
            <a:ext cx="11851251" cy="5142543"/>
            <a:chOff x="-14169" y="507347"/>
            <a:chExt cx="11851251" cy="5142543"/>
          </a:xfrm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0D9449F4-DDDA-2940-AC8E-5A8EB963E028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39977B72-DEEB-B642-B055-A1FC830C6F22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DA3E8350-CB13-2444-ACBA-9CB24416579D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solidFill>
              <a:srgbClr val="E21A23"/>
            </a:solidFill>
          </p:grpSpPr>
          <p:sp>
            <p:nvSpPr>
              <p:cNvPr id="35" name="Parallelogram 34">
                <a:extLst>
                  <a:ext uri="{FF2B5EF4-FFF2-40B4-BE49-F238E27FC236}">
                    <a16:creationId xmlns:a16="http://schemas.microsoft.com/office/drawing/2014/main" id="{54F2EC11-B068-3749-B697-AB996FFEBDD7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Parallelogram 35">
                <a:extLst>
                  <a:ext uri="{FF2B5EF4-FFF2-40B4-BE49-F238E27FC236}">
                    <a16:creationId xmlns:a16="http://schemas.microsoft.com/office/drawing/2014/main" id="{6D7DAAF6-5C60-8E42-8F56-8A59D01DAFF5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3A0D68A-64DE-034D-A0D9-7DBB1C30BD44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2" name="Rectangle 31">
            <a:extLst>
              <a:ext uri="{FF2B5EF4-FFF2-40B4-BE49-F238E27FC236}">
                <a16:creationId xmlns:a16="http://schemas.microsoft.com/office/drawing/2014/main" id="{B842EDC8-9FFB-2849-A229-4E95F1FA8F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4023448"/>
            <a:ext cx="5144874" cy="923533"/>
          </a:xfrm>
          <a:prstGeom prst="rect">
            <a:avLst/>
          </a:prstGeom>
          <a:solidFill>
            <a:schemeClr val="bg1"/>
          </a:solidFill>
          <a:ln w="9525">
            <a:solidFill>
              <a:srgbClr val="DBDBD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D4F1E58E-5201-7248-9458-9D353017EE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1436453"/>
            <a:ext cx="5144874" cy="2580258"/>
          </a:xfrm>
          <a:prstGeom prst="rect">
            <a:avLst/>
          </a:prstGeom>
          <a:solidFill>
            <a:schemeClr val="bg1"/>
          </a:solidFill>
          <a:ln w="9525">
            <a:solidFill>
              <a:srgbClr val="DBDBD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3" name="Picture Placeholder 2">
            <a:extLst>
              <a:ext uri="{FF2B5EF4-FFF2-40B4-BE49-F238E27FC236}">
                <a16:creationId xmlns:a16="http://schemas.microsoft.com/office/drawing/2014/main" id="{BCEB94A7-64EA-3C44-B1A7-F2BF742D98D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33204" y="2830679"/>
            <a:ext cx="3121683" cy="402732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4" name="Numeral Date">
            <a:extLst>
              <a:ext uri="{FF2B5EF4-FFF2-40B4-BE49-F238E27FC236}">
                <a16:creationId xmlns:a16="http://schemas.microsoft.com/office/drawing/2014/main" id="{EAEF7B50-2449-3847-A9B3-BC55E2EFB2D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08087" y="4512640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25" name="Name &amp; Surname">
            <a:extLst>
              <a:ext uri="{FF2B5EF4-FFF2-40B4-BE49-F238E27FC236}">
                <a16:creationId xmlns:a16="http://schemas.microsoft.com/office/drawing/2014/main" id="{1BE2989A-80FF-6748-9A18-6CF1DD0939C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08087" y="4122407"/>
            <a:ext cx="347901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41" name="Subtitle">
            <a:extLst>
              <a:ext uri="{FF2B5EF4-FFF2-40B4-BE49-F238E27FC236}">
                <a16:creationId xmlns:a16="http://schemas.microsoft.com/office/drawing/2014/main" id="{89FF4802-A4D3-434E-9424-1B51794D3F9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08087" y="3139278"/>
            <a:ext cx="4533631" cy="72398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Subtitle Sample 2 Lines Lorem Ipsum Dolore</a:t>
            </a:r>
          </a:p>
        </p:txBody>
      </p:sp>
      <p:sp>
        <p:nvSpPr>
          <p:cNvPr id="18" name="Title 2">
            <a:extLst>
              <a:ext uri="{FF2B5EF4-FFF2-40B4-BE49-F238E27FC236}">
                <a16:creationId xmlns:a16="http://schemas.microsoft.com/office/drawing/2014/main" id="{4BE9A612-EC57-864B-AADF-3B43A50F46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2983" y="1605014"/>
            <a:ext cx="4831300" cy="142057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31" name="Picture 30" descr="McGraw Hill red cube Logo">
            <a:extLst>
              <a:ext uri="{FF2B5EF4-FFF2-40B4-BE49-F238E27FC236}">
                <a16:creationId xmlns:a16="http://schemas.microsoft.com/office/drawing/2014/main" id="{EFEC87DA-795E-124E-97B1-9468E0ABCD0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95195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_with Image + Copy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A4BC28C6-8794-0A47-ABCE-C7FC96D39E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255815" y="739079"/>
            <a:ext cx="2936185" cy="612102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BFB1D6C-A7E9-F346-8A13-0BCB15719D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6" name="Chapter Title">
            <a:extLst>
              <a:ext uri="{FF2B5EF4-FFF2-40B4-BE49-F238E27FC236}">
                <a16:creationId xmlns:a16="http://schemas.microsoft.com/office/drawing/2014/main" id="{D679B90A-4AB2-E64F-865B-31FA7A647B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2734AE8A-25C0-5A40-8DCA-827143D8939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5F695EBD-4DD2-D94C-8FE6-3BC8F009DD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1" name="Body Text">
            <a:extLst>
              <a:ext uri="{FF2B5EF4-FFF2-40B4-BE49-F238E27FC236}">
                <a16:creationId xmlns:a16="http://schemas.microsoft.com/office/drawing/2014/main" id="{53D7C1F0-4FF6-6146-83A3-619E9E7425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8D628D98-2995-2549-8BEB-B242D876BA3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2" name="Column 2">
            <a:extLst>
              <a:ext uri="{FF2B5EF4-FFF2-40B4-BE49-F238E27FC236}">
                <a16:creationId xmlns:a16="http://schemas.microsoft.com/office/drawing/2014/main" id="{89F8ED53-76E5-D34E-AF57-48AB3FD4503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CE6948A-A3B1-F139-AEDB-5E631C58B4F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800" cy="4871033"/>
          </a:xfrm>
          <a:prstGeom prst="rect">
            <a:avLst/>
          </a:prstGeom>
        </p:spPr>
      </p:pic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CC836EA3-0289-2F4F-9CCE-4C8FA98EA37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219950" y="1203325"/>
            <a:ext cx="4383088" cy="56546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49693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_with Image + Copy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F13EAB6-5661-494B-97BE-877A284174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255815" y="739079"/>
            <a:ext cx="2936185" cy="6118921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F91159E-FB61-BD47-87D0-43DD404B051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0EC23C69-26E3-854A-8AEA-45792C9D8A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3" name="Pg">
            <a:extLst>
              <a:ext uri="{FF2B5EF4-FFF2-40B4-BE49-F238E27FC236}">
                <a16:creationId xmlns:a16="http://schemas.microsoft.com/office/drawing/2014/main" id="{3E7B488B-7F58-E041-8E34-0A5108AC4422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6950784B-C4DC-1048-8DB0-FBA0B7ED9C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0" name="Body Text">
            <a:extLst>
              <a:ext uri="{FF2B5EF4-FFF2-40B4-BE49-F238E27FC236}">
                <a16:creationId xmlns:a16="http://schemas.microsoft.com/office/drawing/2014/main" id="{3C493DB4-6E5A-0A49-B823-5D376D9C9E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6" name="Column 1">
            <a:extLst>
              <a:ext uri="{FF2B5EF4-FFF2-40B4-BE49-F238E27FC236}">
                <a16:creationId xmlns:a16="http://schemas.microsoft.com/office/drawing/2014/main" id="{8328127D-150E-B44E-BC89-0FD65043CC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2" name="Column 2">
            <a:extLst>
              <a:ext uri="{FF2B5EF4-FFF2-40B4-BE49-F238E27FC236}">
                <a16:creationId xmlns:a16="http://schemas.microsoft.com/office/drawing/2014/main" id="{F6906905-9636-614B-830C-DF2EEB425E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4EC68AE-8387-1A40-2D4A-2C57F3A6FBB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799" cy="4871033"/>
          </a:xfrm>
          <a:prstGeom prst="rect">
            <a:avLst/>
          </a:prstGeom>
        </p:spPr>
      </p:pic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9F580762-E4FC-D041-AD65-42DCA22C0A8F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219950" y="1203325"/>
            <a:ext cx="4383088" cy="56546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17399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_with Image + Copy_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F13EAB6-5661-494B-97BE-877A284174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255815" y="739079"/>
            <a:ext cx="2936185" cy="6118921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0330DBB1-932C-514D-8370-049DD406AE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9601147" y="1366154"/>
            <a:ext cx="2133798" cy="4871033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1E28115-1F17-E042-B158-958DD79574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ED2A3636-75CE-1E42-9B3A-DAFCDFF373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3" name="Pg">
            <a:extLst>
              <a:ext uri="{FF2B5EF4-FFF2-40B4-BE49-F238E27FC236}">
                <a16:creationId xmlns:a16="http://schemas.microsoft.com/office/drawing/2014/main" id="{26B4EDE0-F23F-9C40-8DBC-AA1DE963BCB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35DFC7AE-4EDA-5449-A40C-2DC74991B0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0" name="Body Text">
            <a:extLst>
              <a:ext uri="{FF2B5EF4-FFF2-40B4-BE49-F238E27FC236}">
                <a16:creationId xmlns:a16="http://schemas.microsoft.com/office/drawing/2014/main" id="{132F1372-CD64-C741-83C2-B72000439FE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4" name="Column 1">
            <a:extLst>
              <a:ext uri="{FF2B5EF4-FFF2-40B4-BE49-F238E27FC236}">
                <a16:creationId xmlns:a16="http://schemas.microsoft.com/office/drawing/2014/main" id="{733B5D7A-D46F-EE40-98CC-40E79D9F65C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5" name="Column 2">
            <a:extLst>
              <a:ext uri="{FF2B5EF4-FFF2-40B4-BE49-F238E27FC236}">
                <a16:creationId xmlns:a16="http://schemas.microsoft.com/office/drawing/2014/main" id="{B1FAC4E9-985E-3F49-8B63-05362E7E7EA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D9FC49DD-4F8B-CF98-C24E-3D77881819A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219950" y="1203325"/>
            <a:ext cx="4383088" cy="56546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4728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st_with Copy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BC90947-9FBD-3B47-AE88-71E04E581357}"/>
              </a:ext>
            </a:extLst>
          </p:cNvPr>
          <p:cNvSpPr/>
          <p:nvPr userDrawn="1"/>
        </p:nvSpPr>
        <p:spPr>
          <a:xfrm>
            <a:off x="9144091" y="745340"/>
            <a:ext cx="3047910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B2C9B86-2BA7-2C49-9B52-F95410DF704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798" cy="487103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305E351-B915-BD4D-A104-CE8A78E877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9" name="Chapter Title">
            <a:extLst>
              <a:ext uri="{FF2B5EF4-FFF2-40B4-BE49-F238E27FC236}">
                <a16:creationId xmlns:a16="http://schemas.microsoft.com/office/drawing/2014/main" id="{46F47BCD-2606-6446-B953-7EA51944FC5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B9889367-1837-7547-8ADE-81B765558950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B1670CB5-F520-4F4E-9416-10F61C1776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B923205D-6211-744A-A7D6-56BDC295849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22814ED1-29B4-164D-A3B2-0C0FCADE43F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Column 2">
            <a:extLst>
              <a:ext uri="{FF2B5EF4-FFF2-40B4-BE49-F238E27FC236}">
                <a16:creationId xmlns:a16="http://schemas.microsoft.com/office/drawing/2014/main" id="{97E1AD9F-2EE3-7442-9BF2-6F9AFDC2808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4569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st_with Copy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BC90947-9FBD-3B47-AE88-71E04E581357}"/>
              </a:ext>
            </a:extLst>
          </p:cNvPr>
          <p:cNvSpPr/>
          <p:nvPr userDrawn="1"/>
        </p:nvSpPr>
        <p:spPr>
          <a:xfrm>
            <a:off x="9144091" y="745340"/>
            <a:ext cx="3047910" cy="6112660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952B30F-DA32-BD48-A150-841D2CC2002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800" cy="487103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FC14102-5D1F-CC47-96A6-0F8B125B3B1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9" name="Chapter Title">
            <a:extLst>
              <a:ext uri="{FF2B5EF4-FFF2-40B4-BE49-F238E27FC236}">
                <a16:creationId xmlns:a16="http://schemas.microsoft.com/office/drawing/2014/main" id="{FE7CC563-C876-8D49-9C67-CE4C3C65E6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30E17DB6-2150-0D46-8340-D3581FF40EC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4DD5738-B9A4-D446-8B86-A0199FBA6D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31A62204-B7CF-0F47-9302-76117502529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C4D93840-F4DD-B843-BC4B-8AF7F98AB0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Column 2">
            <a:extLst>
              <a:ext uri="{FF2B5EF4-FFF2-40B4-BE49-F238E27FC236}">
                <a16:creationId xmlns:a16="http://schemas.microsoft.com/office/drawing/2014/main" id="{A2CB17AE-D121-8144-B913-2A0997DF2C7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27227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st_with Copy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BC90947-9FBD-3B47-AE88-71E04E581357}"/>
              </a:ext>
            </a:extLst>
          </p:cNvPr>
          <p:cNvSpPr/>
          <p:nvPr userDrawn="1"/>
        </p:nvSpPr>
        <p:spPr>
          <a:xfrm>
            <a:off x="9144091" y="745340"/>
            <a:ext cx="3047910" cy="61126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93E3DBC-5438-6E46-92A8-F6F9A5B2B2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799" cy="487103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BA38B5C-C304-CF4C-9CE1-76463371571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9" name="Chapter Title">
            <a:extLst>
              <a:ext uri="{FF2B5EF4-FFF2-40B4-BE49-F238E27FC236}">
                <a16:creationId xmlns:a16="http://schemas.microsoft.com/office/drawing/2014/main" id="{9E4B0D1D-604E-5845-A559-76143769A4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0B370684-59CB-9D48-9E3B-4A19CF85F578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CBEA7924-9977-A944-8820-5611CD6A14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E9167E63-18F2-B54A-93ED-51E4F364ED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9D45D5EF-D30C-1D4E-8C2E-CA2D9F7AD45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Column 2">
            <a:extLst>
              <a:ext uri="{FF2B5EF4-FFF2-40B4-BE49-F238E27FC236}">
                <a16:creationId xmlns:a16="http://schemas.microsoft.com/office/drawing/2014/main" id="{364274DE-F93B-234F-80D3-BADE92110F0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29098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st_with Copy_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F13EAB6-5661-494B-97BE-877A284174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255815" y="739079"/>
            <a:ext cx="2936185" cy="6118921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0330DBB1-932C-514D-8370-049DD406AE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9601147" y="1366154"/>
            <a:ext cx="2133798" cy="4871033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1E28115-1F17-E042-B158-958DD79574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ED2A3636-75CE-1E42-9B3A-DAFCDFF373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3" name="Pg">
            <a:extLst>
              <a:ext uri="{FF2B5EF4-FFF2-40B4-BE49-F238E27FC236}">
                <a16:creationId xmlns:a16="http://schemas.microsoft.com/office/drawing/2014/main" id="{26B4EDE0-F23F-9C40-8DBC-AA1DE963BCB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35DFC7AE-4EDA-5449-A40C-2DC74991B0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0" name="Body Text">
            <a:extLst>
              <a:ext uri="{FF2B5EF4-FFF2-40B4-BE49-F238E27FC236}">
                <a16:creationId xmlns:a16="http://schemas.microsoft.com/office/drawing/2014/main" id="{132F1372-CD64-C741-83C2-B72000439FE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4" name="Column 1">
            <a:extLst>
              <a:ext uri="{FF2B5EF4-FFF2-40B4-BE49-F238E27FC236}">
                <a16:creationId xmlns:a16="http://schemas.microsoft.com/office/drawing/2014/main" id="{733B5D7A-D46F-EE40-98CC-40E79D9F65C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5" name="Column 2">
            <a:extLst>
              <a:ext uri="{FF2B5EF4-FFF2-40B4-BE49-F238E27FC236}">
                <a16:creationId xmlns:a16="http://schemas.microsoft.com/office/drawing/2014/main" id="{B1FAC4E9-985E-3F49-8B63-05362E7E7EA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90017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o Slide_Individual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8DFB25E2-62AC-989D-869E-A1139CC8209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225018" y="2094403"/>
            <a:ext cx="3422336" cy="3414533"/>
          </a:xfrm>
          <a:prstGeom prst="rect">
            <a:avLst/>
          </a:prstGeom>
          <a:solidFill>
            <a:schemeClr val="bg1"/>
          </a:solidFill>
          <a:ln w="38100">
            <a:solidFill>
              <a:srgbClr val="092467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7" name="Body Text">
            <a:extLst>
              <a:ext uri="{FF2B5EF4-FFF2-40B4-BE49-F238E27FC236}">
                <a16:creationId xmlns:a16="http://schemas.microsoft.com/office/drawing/2014/main" id="{A210F576-544A-CEAC-3E61-8A8D67FDB62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57047" y="2689855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0"/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8" name="Body Text">
            <a:extLst>
              <a:ext uri="{FF2B5EF4-FFF2-40B4-BE49-F238E27FC236}">
                <a16:creationId xmlns:a16="http://schemas.microsoft.com/office/drawing/2014/main" id="{1DA6AA1F-7BBE-D1AD-AD1F-C4AFC62C941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957047" y="3172844"/>
            <a:ext cx="5307918" cy="8276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/>
            </a:lvl1pPr>
          </a:lstStyle>
          <a:p>
            <a:pPr lvl="0"/>
            <a:r>
              <a:rPr lang="en-US"/>
              <a:t>(Description of responsibilities)</a:t>
            </a:r>
          </a:p>
        </p:txBody>
      </p:sp>
      <p:sp>
        <p:nvSpPr>
          <p:cNvPr id="5" name="Pg">
            <a:extLst>
              <a:ext uri="{FF2B5EF4-FFF2-40B4-BE49-F238E27FC236}">
                <a16:creationId xmlns:a16="http://schemas.microsoft.com/office/drawing/2014/main" id="{1E4CAEF0-50E4-ADAC-E4A7-03D572F8956D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329C2F1D-5554-DDC9-02AE-906934B59A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57047" y="2094403"/>
            <a:ext cx="5422996" cy="74823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</p:spTree>
    <p:extLst>
      <p:ext uri="{BB962C8B-B14F-4D97-AF65-F5344CB8AC3E}">
        <p14:creationId xmlns:p14="http://schemas.microsoft.com/office/powerpoint/2010/main" val="10273009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431BC4-FA1F-4029-B4CB-B47323FFB8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8DF5675-32B7-4D35-AE2B-978AE1197D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15AD0C-07DB-4418-8107-789D281B336C}" type="datetimeFigureOut">
              <a:rPr lang="en-US" smtClean="0"/>
              <a:t>5/30/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4100748-5877-469E-9BCE-C929CDCDD7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D72884F-AEA2-4D7C-BC30-0D072C6B29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9BA0C4-6567-459F-93BF-7D480B1847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744330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Slide_with Image_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D6792C61-A2E3-D441-8137-CB45AFE0828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DE6919F8-F58F-2A4A-98F5-FDE984CD975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017" y="498906"/>
            <a:ext cx="12183602" cy="5878123"/>
            <a:chOff x="-1017" y="498906"/>
            <a:chExt cx="12183602" cy="5878123"/>
          </a:xfrm>
        </p:grpSpPr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E84A42B3-C875-7246-A333-E68DA98D95DB}"/>
                </a:ext>
              </a:extLst>
            </p:cNvPr>
            <p:cNvGrpSpPr/>
            <p:nvPr userDrawn="1"/>
          </p:nvGrpSpPr>
          <p:grpSpPr>
            <a:xfrm>
              <a:off x="-1017" y="1611038"/>
              <a:ext cx="12183602" cy="4765991"/>
              <a:chOff x="-1017" y="1611038"/>
              <a:chExt cx="12183602" cy="4765991"/>
            </a:xfrm>
          </p:grpSpPr>
          <p:sp>
            <p:nvSpPr>
              <p:cNvPr id="88" name="Rectangle 87">
                <a:extLst>
                  <a:ext uri="{FF2B5EF4-FFF2-40B4-BE49-F238E27FC236}">
                    <a16:creationId xmlns:a16="http://schemas.microsoft.com/office/drawing/2014/main" id="{472291B4-31A1-FC4C-9218-CC71C5ECF3DC}"/>
                  </a:ext>
                </a:extLst>
              </p:cNvPr>
              <p:cNvSpPr/>
              <p:nvPr/>
            </p:nvSpPr>
            <p:spPr>
              <a:xfrm rot="16200000">
                <a:off x="8777293" y="3412639"/>
                <a:ext cx="1561918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9" name="Rectangle 88">
                <a:extLst>
                  <a:ext uri="{FF2B5EF4-FFF2-40B4-BE49-F238E27FC236}">
                    <a16:creationId xmlns:a16="http://schemas.microsoft.com/office/drawing/2014/main" id="{E9130DD8-37F0-BF47-8443-E9DE9187AB2F}"/>
                  </a:ext>
                </a:extLst>
              </p:cNvPr>
              <p:cNvSpPr/>
              <p:nvPr userDrawn="1"/>
            </p:nvSpPr>
            <p:spPr>
              <a:xfrm rot="16200000">
                <a:off x="8952361" y="3354283"/>
                <a:ext cx="1445206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1" name="Rectangle 90">
                <a:extLst>
                  <a:ext uri="{FF2B5EF4-FFF2-40B4-BE49-F238E27FC236}">
                    <a16:creationId xmlns:a16="http://schemas.microsoft.com/office/drawing/2014/main" id="{0CD89C06-927B-1048-857D-F555B58E9E09}"/>
                  </a:ext>
                </a:extLst>
              </p:cNvPr>
              <p:cNvSpPr/>
              <p:nvPr/>
            </p:nvSpPr>
            <p:spPr>
              <a:xfrm rot="18900000">
                <a:off x="9095325" y="1611038"/>
                <a:ext cx="3013278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2" name="Rectangle 91">
                <a:extLst>
                  <a:ext uri="{FF2B5EF4-FFF2-40B4-BE49-F238E27FC236}">
                    <a16:creationId xmlns:a16="http://schemas.microsoft.com/office/drawing/2014/main" id="{57E0C0AC-9BA1-214B-8145-543EE42ED6E9}"/>
                  </a:ext>
                </a:extLst>
              </p:cNvPr>
              <p:cNvSpPr/>
              <p:nvPr userDrawn="1"/>
            </p:nvSpPr>
            <p:spPr>
              <a:xfrm rot="18900000">
                <a:off x="9227663" y="1672933"/>
                <a:ext cx="2954922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1" name="Rectangle 100">
                <a:extLst>
                  <a:ext uri="{FF2B5EF4-FFF2-40B4-BE49-F238E27FC236}">
                    <a16:creationId xmlns:a16="http://schemas.microsoft.com/office/drawing/2014/main" id="{D4538913-9335-E444-BF4E-F794A08ED497}"/>
                  </a:ext>
                </a:extLst>
              </p:cNvPr>
              <p:cNvSpPr/>
              <p:nvPr/>
            </p:nvSpPr>
            <p:spPr>
              <a:xfrm>
                <a:off x="-1017" y="6143607"/>
                <a:ext cx="11723929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2" name="Rectangle 101">
                <a:extLst>
                  <a:ext uri="{FF2B5EF4-FFF2-40B4-BE49-F238E27FC236}">
                    <a16:creationId xmlns:a16="http://schemas.microsoft.com/office/drawing/2014/main" id="{B0E2A164-33EF-A54E-9F2D-524ABD561FD8}"/>
                  </a:ext>
                </a:extLst>
              </p:cNvPr>
              <p:cNvSpPr/>
              <p:nvPr userDrawn="1"/>
            </p:nvSpPr>
            <p:spPr>
              <a:xfrm>
                <a:off x="-1017" y="6260318"/>
                <a:ext cx="11842107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4" name="Rectangle 103">
                <a:extLst>
                  <a:ext uri="{FF2B5EF4-FFF2-40B4-BE49-F238E27FC236}">
                    <a16:creationId xmlns:a16="http://schemas.microsoft.com/office/drawing/2014/main" id="{84A060C7-32C6-3044-9FCC-1367B695FF14}"/>
                  </a:ext>
                </a:extLst>
              </p:cNvPr>
              <p:cNvSpPr/>
              <p:nvPr/>
            </p:nvSpPr>
            <p:spPr>
              <a:xfrm rot="16200000">
                <a:off x="10610640" y="5133287"/>
                <a:ext cx="2112803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5" name="Rectangle 104">
                <a:extLst>
                  <a:ext uri="{FF2B5EF4-FFF2-40B4-BE49-F238E27FC236}">
                    <a16:creationId xmlns:a16="http://schemas.microsoft.com/office/drawing/2014/main" id="{A19BE616-B0FC-664F-8D2F-6A3F97AB1633}"/>
                  </a:ext>
                </a:extLst>
              </p:cNvPr>
              <p:cNvSpPr/>
              <p:nvPr userDrawn="1"/>
            </p:nvSpPr>
            <p:spPr>
              <a:xfrm rot="16200000">
                <a:off x="10604504" y="5139423"/>
                <a:ext cx="2358498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7" name="Rectangle 106">
                <a:extLst>
                  <a:ext uri="{FF2B5EF4-FFF2-40B4-BE49-F238E27FC236}">
                    <a16:creationId xmlns:a16="http://schemas.microsoft.com/office/drawing/2014/main" id="{5EF27DDE-4D35-EC48-99B6-93AD172168ED}"/>
                  </a:ext>
                </a:extLst>
              </p:cNvPr>
              <p:cNvSpPr/>
              <p:nvPr/>
            </p:nvSpPr>
            <p:spPr>
              <a:xfrm rot="10800000">
                <a:off x="9509673" y="4135243"/>
                <a:ext cx="2213239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8" name="Rectangle 107">
                <a:extLst>
                  <a:ext uri="{FF2B5EF4-FFF2-40B4-BE49-F238E27FC236}">
                    <a16:creationId xmlns:a16="http://schemas.microsoft.com/office/drawing/2014/main" id="{5B9AE42F-8A3D-BD41-8E8C-B03D6F2AABFD}"/>
                  </a:ext>
                </a:extLst>
              </p:cNvPr>
              <p:cNvSpPr/>
              <p:nvPr userDrawn="1"/>
            </p:nvSpPr>
            <p:spPr>
              <a:xfrm rot="10800000">
                <a:off x="9616608" y="4018531"/>
                <a:ext cx="2213239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8018B7F2-7545-1A40-8767-8909D3F4819C}"/>
                </a:ext>
              </a:extLst>
            </p:cNvPr>
            <p:cNvGrpSpPr/>
            <p:nvPr userDrawn="1"/>
          </p:nvGrpSpPr>
          <p:grpSpPr>
            <a:xfrm>
              <a:off x="10912844" y="498906"/>
              <a:ext cx="932229" cy="932361"/>
              <a:chOff x="10912844" y="498906"/>
              <a:chExt cx="932229" cy="932361"/>
            </a:xfrm>
          </p:grpSpPr>
          <p:grpSp>
            <p:nvGrpSpPr>
              <p:cNvPr id="36" name="Group 35">
                <a:extLst>
                  <a:ext uri="{FF2B5EF4-FFF2-40B4-BE49-F238E27FC236}">
                    <a16:creationId xmlns:a16="http://schemas.microsoft.com/office/drawing/2014/main" id="{86F24CA8-7119-C74B-961C-0D182044791D}"/>
                  </a:ext>
                </a:extLst>
              </p:cNvPr>
              <p:cNvGrpSpPr/>
              <p:nvPr userDrawn="1"/>
            </p:nvGrpSpPr>
            <p:grpSpPr>
              <a:xfrm>
                <a:off x="10915811" y="498906"/>
                <a:ext cx="929262" cy="929262"/>
                <a:chOff x="3969603" y="2167014"/>
                <a:chExt cx="929262" cy="929262"/>
              </a:xfrm>
              <a:solidFill>
                <a:srgbClr val="E3B9FC"/>
              </a:solidFill>
            </p:grpSpPr>
            <p:sp>
              <p:nvSpPr>
                <p:cNvPr id="40" name="Parallelogram 39">
                  <a:extLst>
                    <a:ext uri="{FF2B5EF4-FFF2-40B4-BE49-F238E27FC236}">
                      <a16:creationId xmlns:a16="http://schemas.microsoft.com/office/drawing/2014/main" id="{4ECDA969-3B93-0041-8812-9414A9750FCE}"/>
                    </a:ext>
                  </a:extLst>
                </p:cNvPr>
                <p:cNvSpPr/>
                <p:nvPr userDrawn="1"/>
              </p:nvSpPr>
              <p:spPr>
                <a:xfrm>
                  <a:off x="3969603" y="2168473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1" name="Parallelogram 40">
                  <a:extLst>
                    <a:ext uri="{FF2B5EF4-FFF2-40B4-BE49-F238E27FC236}">
                      <a16:creationId xmlns:a16="http://schemas.microsoft.com/office/drawing/2014/main" id="{CA5C2512-C76D-6E41-8E09-02263D12AC03}"/>
                    </a:ext>
                  </a:extLst>
                </p:cNvPr>
                <p:cNvSpPr/>
                <p:nvPr userDrawn="1"/>
              </p:nvSpPr>
              <p:spPr>
                <a:xfrm rot="5400000" flipH="1">
                  <a:off x="4321438" y="2518849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37" name="Group 36">
                <a:extLst>
                  <a:ext uri="{FF2B5EF4-FFF2-40B4-BE49-F238E27FC236}">
                    <a16:creationId xmlns:a16="http://schemas.microsoft.com/office/drawing/2014/main" id="{2E6F009D-4DD9-1445-882C-05B6CB71001E}"/>
                  </a:ext>
                </a:extLst>
              </p:cNvPr>
              <p:cNvGrpSpPr/>
              <p:nvPr userDrawn="1"/>
            </p:nvGrpSpPr>
            <p:grpSpPr>
              <a:xfrm>
                <a:off x="10912844" y="609246"/>
                <a:ext cx="823347" cy="822021"/>
                <a:chOff x="3966636" y="2277354"/>
                <a:chExt cx="823347" cy="822021"/>
              </a:xfrm>
              <a:solidFill>
                <a:srgbClr val="E21A23"/>
              </a:solidFill>
            </p:grpSpPr>
            <p:sp>
              <p:nvSpPr>
                <p:cNvPr id="38" name="Parallelogram 61">
                  <a:extLst>
                    <a:ext uri="{FF2B5EF4-FFF2-40B4-BE49-F238E27FC236}">
                      <a16:creationId xmlns:a16="http://schemas.microsoft.com/office/drawing/2014/main" id="{4FF1D96C-C26A-D247-B296-2D1B409294A0}"/>
                    </a:ext>
                  </a:extLst>
                </p:cNvPr>
                <p:cNvSpPr/>
                <p:nvPr userDrawn="1"/>
              </p:nvSpPr>
              <p:spPr>
                <a:xfrm>
                  <a:off x="3966636" y="2277354"/>
                  <a:ext cx="821312" cy="119886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19886">
                      <a:moveTo>
                        <a:pt x="0" y="119886"/>
                      </a:moveTo>
                      <a:lnTo>
                        <a:pt x="112441" y="3175"/>
                      </a:lnTo>
                      <a:lnTo>
                        <a:pt x="821312" y="0"/>
                      </a:lnTo>
                      <a:lnTo>
                        <a:pt x="708871" y="116711"/>
                      </a:lnTo>
                      <a:lnTo>
                        <a:pt x="0" y="11988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9" name="Parallelogram 61">
                  <a:extLst>
                    <a:ext uri="{FF2B5EF4-FFF2-40B4-BE49-F238E27FC236}">
                      <a16:creationId xmlns:a16="http://schemas.microsoft.com/office/drawing/2014/main" id="{5610441A-E740-F54A-80F8-0C5A74DE2B3B}"/>
                    </a:ext>
                  </a:extLst>
                </p:cNvPr>
                <p:cNvSpPr/>
                <p:nvPr userDrawn="1"/>
              </p:nvSpPr>
              <p:spPr>
                <a:xfrm rot="16200000" flipH="1">
                  <a:off x="4317797" y="2627188"/>
                  <a:ext cx="821312" cy="123061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8791 w 821312"/>
                    <a:gd name="connsiteY1" fmla="*/ 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23061 h 123061"/>
                    <a:gd name="connsiteX1" fmla="*/ 64816 w 821312"/>
                    <a:gd name="connsiteY1" fmla="*/ 0 h 123061"/>
                    <a:gd name="connsiteX2" fmla="*/ 821312 w 821312"/>
                    <a:gd name="connsiteY2" fmla="*/ 3175 h 123061"/>
                    <a:gd name="connsiteX3" fmla="*/ 708871 w 821312"/>
                    <a:gd name="connsiteY3" fmla="*/ 119886 h 123061"/>
                    <a:gd name="connsiteX4" fmla="*/ 0 w 821312"/>
                    <a:gd name="connsiteY4" fmla="*/ 123061 h 1230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23061">
                      <a:moveTo>
                        <a:pt x="0" y="123061"/>
                      </a:moveTo>
                      <a:lnTo>
                        <a:pt x="64816" y="0"/>
                      </a:lnTo>
                      <a:lnTo>
                        <a:pt x="821312" y="3175"/>
                      </a:lnTo>
                      <a:lnTo>
                        <a:pt x="708871" y="119886"/>
                      </a:lnTo>
                      <a:lnTo>
                        <a:pt x="0" y="12306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</p:grpSp>
      <p:sp>
        <p:nvSpPr>
          <p:cNvPr id="58" name="Rectangle 57">
            <a:extLst>
              <a:ext uri="{FF2B5EF4-FFF2-40B4-BE49-F238E27FC236}">
                <a16:creationId xmlns:a16="http://schemas.microsoft.com/office/drawing/2014/main" id="{1D270C0A-6D12-D543-BBDC-13F13EEF7DA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1436453"/>
            <a:ext cx="5144874" cy="2580258"/>
          </a:xfrm>
          <a:prstGeom prst="rect">
            <a:avLst/>
          </a:prstGeom>
          <a:solidFill>
            <a:schemeClr val="bg2"/>
          </a:solidFill>
          <a:ln w="9525">
            <a:solidFill>
              <a:srgbClr val="08337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D1AB0CE1-8D6D-7448-B8CE-6354B4485C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4023448"/>
            <a:ext cx="5144767" cy="923533"/>
          </a:xfrm>
          <a:prstGeom prst="rect">
            <a:avLst/>
          </a:prstGeom>
          <a:solidFill>
            <a:schemeClr val="bg2"/>
          </a:solidFill>
          <a:ln w="9525">
            <a:solidFill>
              <a:srgbClr val="08337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2" name="Picture Placeholder 2">
            <a:extLst>
              <a:ext uri="{FF2B5EF4-FFF2-40B4-BE49-F238E27FC236}">
                <a16:creationId xmlns:a16="http://schemas.microsoft.com/office/drawing/2014/main" id="{62B1EA1F-4CEF-8943-B26B-D2EE7BECA27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59041" y="2830679"/>
            <a:ext cx="3121683" cy="402732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3" name="Numeral Date">
            <a:extLst>
              <a:ext uri="{FF2B5EF4-FFF2-40B4-BE49-F238E27FC236}">
                <a16:creationId xmlns:a16="http://schemas.microsoft.com/office/drawing/2014/main" id="{C75370B1-A29C-D045-93FF-A3FF43E45DC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08087" y="4512640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44" name="Name &amp; Surname">
            <a:extLst>
              <a:ext uri="{FF2B5EF4-FFF2-40B4-BE49-F238E27FC236}">
                <a16:creationId xmlns:a16="http://schemas.microsoft.com/office/drawing/2014/main" id="{0FC2ACD5-DFC3-DC4A-AD29-579EDAF07FE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08087" y="4122407"/>
            <a:ext cx="4887913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60" name="Subtitle">
            <a:extLst>
              <a:ext uri="{FF2B5EF4-FFF2-40B4-BE49-F238E27FC236}">
                <a16:creationId xmlns:a16="http://schemas.microsoft.com/office/drawing/2014/main" id="{360FC992-BC0C-6F41-B636-9B86C8738C2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08087" y="3139278"/>
            <a:ext cx="4533631" cy="72398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Subtitle Sample 2 Lines Lorem Ipsum Dolore</a:t>
            </a:r>
          </a:p>
        </p:txBody>
      </p:sp>
      <p:sp>
        <p:nvSpPr>
          <p:cNvPr id="33" name="Title 2">
            <a:extLst>
              <a:ext uri="{FF2B5EF4-FFF2-40B4-BE49-F238E27FC236}">
                <a16:creationId xmlns:a16="http://schemas.microsoft.com/office/drawing/2014/main" id="{2EA7844D-0BD6-CD4D-8958-F02051CF3E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2983" y="1605014"/>
            <a:ext cx="4831300" cy="142057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56" name="Picture 55" descr="McGraw Hill red cube Logo">
            <a:extLst>
              <a:ext uri="{FF2B5EF4-FFF2-40B4-BE49-F238E27FC236}">
                <a16:creationId xmlns:a16="http://schemas.microsoft.com/office/drawing/2014/main" id="{FB8ADFE6-C4A2-E14F-8FFD-6019DBA6187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566109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Full Bleed Image_RED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college student in a hoodie and jean jacket smiles broadly at something across the classroom.">
            <a:extLst>
              <a:ext uri="{FF2B5EF4-FFF2-40B4-BE49-F238E27FC236}">
                <a16:creationId xmlns:a16="http://schemas.microsoft.com/office/drawing/2014/main" id="{D3FBABBA-EFFB-8723-4DFB-B88365F2D5D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263"/>
            <a:ext cx="12192000" cy="6851737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3B1A09C3-C221-5247-95D0-510AEE25B7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E21A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Display Date">
            <a:extLst>
              <a:ext uri="{FF2B5EF4-FFF2-40B4-BE49-F238E27FC236}">
                <a16:creationId xmlns:a16="http://schemas.microsoft.com/office/drawing/2014/main" id="{AB73912B-6039-1040-8EEA-A96C8859833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64802" y="5893085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6" name="Name &amp; Surname">
            <a:extLst>
              <a:ext uri="{FF2B5EF4-FFF2-40B4-BE49-F238E27FC236}">
                <a16:creationId xmlns:a16="http://schemas.microsoft.com/office/drawing/2014/main" id="{E00230D1-031F-1540-AAE8-BEEEB0C2CCA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64802" y="5508815"/>
            <a:ext cx="2954336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473FF405-19A5-2B49-9177-D4AA4433026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64802" y="4486707"/>
            <a:ext cx="2760436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10" name="Title 2">
            <a:extLst>
              <a:ext uri="{FF2B5EF4-FFF2-40B4-BE49-F238E27FC236}">
                <a16:creationId xmlns:a16="http://schemas.microsoft.com/office/drawing/2014/main" id="{8F299F7E-7821-614A-83A4-8369943FC2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79316" y="3395900"/>
            <a:ext cx="2745922" cy="9403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9" name="Picture 8" descr="McGraw Hill red cube logo ">
            <a:extLst>
              <a:ext uri="{FF2B5EF4-FFF2-40B4-BE49-F238E27FC236}">
                <a16:creationId xmlns:a16="http://schemas.microsoft.com/office/drawing/2014/main" id="{91FA0969-9821-8F42-A427-8BF01C4751A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750" y="18557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96342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9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RED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op Nav">
            <a:extLst>
              <a:ext uri="{FF2B5EF4-FFF2-40B4-BE49-F238E27FC236}">
                <a16:creationId xmlns:a16="http://schemas.microsoft.com/office/drawing/2014/main" id="{E4D20FAE-37C6-C749-A4C0-1C7EB7AFC4CD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AC79D01-1491-1A46-B0B6-F2FEBC1BAC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729130"/>
            <a:ext cx="4086451" cy="406829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B404AE-4E2C-6049-95E3-193B665C26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DA8190D2-E978-6643-BCB2-60CDE40B83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5B59F53A-E8CF-1C40-B445-91F374C88B6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49255ED6-FF99-7C4C-872F-AE85277294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681524"/>
            <a:ext cx="3406871" cy="8874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AA788A84-57E8-A34B-9A7A-191EA5DB557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0184" y="2471301"/>
            <a:ext cx="5415816" cy="3353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lang="en-US" sz="1800" b="1" i="0" smtClean="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en-US"/>
              <a:t>Small caption below</a:t>
            </a:r>
          </a:p>
        </p:txBody>
      </p:sp>
      <p:sp>
        <p:nvSpPr>
          <p:cNvPr id="22" name="Body Text">
            <a:extLst>
              <a:ext uri="{FF2B5EF4-FFF2-40B4-BE49-F238E27FC236}">
                <a16:creationId xmlns:a16="http://schemas.microsoft.com/office/drawing/2014/main" id="{B745550E-7BE1-494D-B44D-4932A01F337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0458" y="3088679"/>
            <a:ext cx="6464300" cy="34234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i="0" smtClean="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br>
              <a:rPr lang="en-US"/>
            </a:b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</a:t>
            </a:r>
          </a:p>
        </p:txBody>
      </p:sp>
      <p:sp>
        <p:nvSpPr>
          <p:cNvPr id="11" name="Call out box">
            <a:extLst>
              <a:ext uri="{FF2B5EF4-FFF2-40B4-BE49-F238E27FC236}">
                <a16:creationId xmlns:a16="http://schemas.microsoft.com/office/drawing/2014/main" id="{959AF58F-8047-4A4F-B1B7-E6B18CF6AF8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21937" y="1791343"/>
            <a:ext cx="2067391" cy="19509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2400" b="1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Call Out Box —</a:t>
            </a:r>
          </a:p>
          <a:p>
            <a:pPr lvl="0"/>
            <a:r>
              <a:rPr lang="en-US"/>
              <a:t>24pt Bold limited to 50 characters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24461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6" orient="horz" pos="3022">
          <p15:clr>
            <a:srgbClr val="FBAE40"/>
          </p15:clr>
        </p15:guide>
        <p15:guide id="7" pos="5110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LIGHT BLUE on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DB41E570-CA75-A746-B954-43B4FA2F75C5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5D6D3B9-5F57-4D46-94D5-27811194DCD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729130"/>
            <a:ext cx="4086451" cy="4068296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3"/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79EF590-E588-8B41-AF56-718C495BBF6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88B0874C-8B01-C74F-A1E1-E491D257E04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FC8C3A12-05AB-384D-B38A-AA60F17D9876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D895255C-5C21-B44A-9272-4243F8BCCC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681524"/>
            <a:ext cx="3413448" cy="8874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20" name="Subtitle">
            <a:extLst>
              <a:ext uri="{FF2B5EF4-FFF2-40B4-BE49-F238E27FC236}">
                <a16:creationId xmlns:a16="http://schemas.microsoft.com/office/drawing/2014/main" id="{19F8877B-D18D-CF4F-A4B3-5626E1DDC4F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0184" y="2471301"/>
            <a:ext cx="5415816" cy="3353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lang="en-US" sz="1800" b="1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Small caption below</a:t>
            </a:r>
          </a:p>
        </p:txBody>
      </p:sp>
      <p:sp>
        <p:nvSpPr>
          <p:cNvPr id="22" name="Body Text">
            <a:extLst>
              <a:ext uri="{FF2B5EF4-FFF2-40B4-BE49-F238E27FC236}">
                <a16:creationId xmlns:a16="http://schemas.microsoft.com/office/drawing/2014/main" id="{24804DEE-1D02-2343-BFAA-2C9772B1556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0458" y="3088679"/>
            <a:ext cx="6464300" cy="34234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br>
              <a:rPr lang="en-US"/>
            </a:b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</a:t>
            </a:r>
          </a:p>
        </p:txBody>
      </p:sp>
      <p:sp>
        <p:nvSpPr>
          <p:cNvPr id="21" name="Call out Box">
            <a:extLst>
              <a:ext uri="{FF2B5EF4-FFF2-40B4-BE49-F238E27FC236}">
                <a16:creationId xmlns:a16="http://schemas.microsoft.com/office/drawing/2014/main" id="{B084D13F-DF47-7449-946E-30E399B431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21937" y="1791343"/>
            <a:ext cx="2067391" cy="19509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2400" b="1" i="0" smtClean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en-US"/>
              <a:t>Call Out Box —</a:t>
            </a:r>
          </a:p>
          <a:p>
            <a:pPr lvl="0"/>
            <a:r>
              <a:rPr lang="en-US"/>
              <a:t>24pt Bold limited to 50 characters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5874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6" orient="horz" pos="3022">
          <p15:clr>
            <a:srgbClr val="FBAE40"/>
          </p15:clr>
        </p15:guide>
        <p15:guide id="7" pos="5110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WHITE on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961F419D-113E-EA4A-A5C8-2382F62B95B0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88798B9-84E2-EE4D-837A-4C3149D62EA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728662"/>
            <a:ext cx="4086451" cy="40682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F24543A-2943-E144-B0C9-4FF147982F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84900E18-72F0-D846-B39B-92BEB7B4C2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E25EA957-D2E1-084E-8256-651E3AD5768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A8E5E85-12FB-CF4F-8F55-864987A9AC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681524"/>
            <a:ext cx="3406871" cy="8874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1AA82C71-2310-B94F-83E7-85F9DDAE2F9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0184" y="2471301"/>
            <a:ext cx="5415816" cy="3353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lang="en-US" sz="1800" b="1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Small caption below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F8CA0EEE-48D2-E543-8BF2-48FA2307D3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0458" y="3088679"/>
            <a:ext cx="6464300" cy="34234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br>
              <a:rPr lang="en-US"/>
            </a:br>
            <a:br>
              <a:rPr lang="en-US"/>
            </a:br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</a:t>
            </a:r>
          </a:p>
        </p:txBody>
      </p:sp>
      <p:sp>
        <p:nvSpPr>
          <p:cNvPr id="14" name="Call out box">
            <a:extLst>
              <a:ext uri="{FF2B5EF4-FFF2-40B4-BE49-F238E27FC236}">
                <a16:creationId xmlns:a16="http://schemas.microsoft.com/office/drawing/2014/main" id="{AE11AB8B-B566-2644-B60E-0DB3F72ACC8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21937" y="1791343"/>
            <a:ext cx="2067391" cy="19509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2400" b="1" i="0" smtClean="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en-US"/>
              <a:t>Call Out Box —</a:t>
            </a:r>
          </a:p>
          <a:p>
            <a:pPr lvl="0"/>
            <a:r>
              <a:rPr lang="en-US"/>
              <a:t>24pt Bold limited to 50 characters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28411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6" orient="horz" pos="3022">
          <p15:clr>
            <a:srgbClr val="FBAE40"/>
          </p15:clr>
        </p15:guide>
        <p15:guide id="7" pos="5110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ll-Out Box_GRAY o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op Nav">
            <a:extLst>
              <a:ext uri="{FF2B5EF4-FFF2-40B4-BE49-F238E27FC236}">
                <a16:creationId xmlns:a16="http://schemas.microsoft.com/office/drawing/2014/main" id="{FC231581-4C30-CC44-97C7-AF37930886B5}"/>
              </a:ext>
            </a:extLst>
          </p:cNvPr>
          <p:cNvSpPr/>
          <p:nvPr userDrawn="1"/>
        </p:nvSpPr>
        <p:spPr>
          <a:xfrm>
            <a:off x="8105548" y="728663"/>
            <a:ext cx="4086452" cy="4068295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5D441DD-A5DD-674E-B805-796E0DCE872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84900E18-72F0-D846-B39B-92BEB7B4C2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E25EA957-D2E1-084E-8256-651E3AD5768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C6AF6692-F0B1-984D-AAE3-766630556B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681524"/>
            <a:ext cx="3406871" cy="8874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1AA82C71-2310-B94F-83E7-85F9DDAE2F9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0184" y="2471301"/>
            <a:ext cx="5415816" cy="3353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lang="en-US" sz="1800" b="1" i="0" smtClean="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en-US"/>
              <a:t>Small caption below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F8CA0EEE-48D2-E543-8BF2-48FA2307D3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0458" y="3088679"/>
            <a:ext cx="6464300" cy="34234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i="0" smtClean="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br>
              <a:rPr lang="en-US"/>
            </a:b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</a:t>
            </a:r>
          </a:p>
        </p:txBody>
      </p:sp>
      <p:sp>
        <p:nvSpPr>
          <p:cNvPr id="11" name="Call out box">
            <a:extLst>
              <a:ext uri="{FF2B5EF4-FFF2-40B4-BE49-F238E27FC236}">
                <a16:creationId xmlns:a16="http://schemas.microsoft.com/office/drawing/2014/main" id="{77BBF566-40CB-864A-B2E3-96B94E6B17C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21937" y="1791343"/>
            <a:ext cx="2067391" cy="19509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2400" b="1" i="0" smtClean="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en-US"/>
              <a:t>Call Out Box —</a:t>
            </a:r>
          </a:p>
          <a:p>
            <a:pPr lvl="0"/>
            <a:r>
              <a:rPr lang="en-US"/>
              <a:t>24pt Bold limited to 50 characters </a:t>
            </a:r>
          </a:p>
          <a:p>
            <a:pPr lvl="0"/>
            <a:endParaRPr lang="en-US"/>
          </a:p>
        </p:txBody>
      </p:sp>
      <p:sp>
        <p:nvSpPr>
          <p:cNvPr id="12" name="Pg">
            <a:extLst>
              <a:ext uri="{FF2B5EF4-FFF2-40B4-BE49-F238E27FC236}">
                <a16:creationId xmlns:a16="http://schemas.microsoft.com/office/drawing/2014/main" id="{AECED608-F065-4D58-B7C8-0C1C936EBB3A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53713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6" orient="horz" pos="3022">
          <p15:clr>
            <a:srgbClr val="FBAE40"/>
          </p15:clr>
        </p15:guide>
        <p15:guide id="7" pos="5110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ll-Out Box_RED on CARB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op Nav">
            <a:extLst>
              <a:ext uri="{FF2B5EF4-FFF2-40B4-BE49-F238E27FC236}">
                <a16:creationId xmlns:a16="http://schemas.microsoft.com/office/drawing/2014/main" id="{5632E63E-8B1B-134B-9EA1-CD9ACBB67160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88798B9-84E2-EE4D-837A-4C3149D62EA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728662"/>
            <a:ext cx="4086451" cy="406829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5077483-4A49-AA4B-8B2E-9115C1ECC2E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84900E18-72F0-D846-B39B-92BEB7B4C2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E25EA957-D2E1-084E-8256-651E3AD5768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DB93D016-9E70-8F45-AA00-97F5080F2D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681524"/>
            <a:ext cx="3413448" cy="8874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1AA82C71-2310-B94F-83E7-85F9DDAE2F9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0184" y="2471301"/>
            <a:ext cx="5415816" cy="3353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lang="en-US" sz="1800" b="1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Small caption below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F8CA0EEE-48D2-E543-8BF2-48FA2307D3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0458" y="3088679"/>
            <a:ext cx="6464300" cy="34234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br>
              <a:rPr lang="en-US"/>
            </a:b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</a:t>
            </a:r>
          </a:p>
        </p:txBody>
      </p:sp>
      <p:sp>
        <p:nvSpPr>
          <p:cNvPr id="14" name="Call out box">
            <a:extLst>
              <a:ext uri="{FF2B5EF4-FFF2-40B4-BE49-F238E27FC236}">
                <a16:creationId xmlns:a16="http://schemas.microsoft.com/office/drawing/2014/main" id="{AE11AB8B-B566-2644-B60E-0DB3F72ACC8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21937" y="1791343"/>
            <a:ext cx="2067391" cy="19509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2400" b="1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Call Out Box —</a:t>
            </a:r>
          </a:p>
          <a:p>
            <a:pPr lvl="0"/>
            <a:r>
              <a:rPr lang="en-US"/>
              <a:t>24pt Bold limited to 50 characters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9663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6" orient="horz" pos="3022">
          <p15:clr>
            <a:srgbClr val="FBAE40"/>
          </p15:clr>
        </p15:guide>
        <p15:guide id="7" pos="5110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RED o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3B1A09C3-C221-5247-95D0-510AEE25B7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445B405-5520-D342-BFF1-B3568011426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8" name="Chapter Title">
            <a:extLst>
              <a:ext uri="{FF2B5EF4-FFF2-40B4-BE49-F238E27FC236}">
                <a16:creationId xmlns:a16="http://schemas.microsoft.com/office/drawing/2014/main" id="{84EF5F22-40A4-F34C-9AAE-3BE16DC4D88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0" name="Pg">
            <a:extLst>
              <a:ext uri="{FF2B5EF4-FFF2-40B4-BE49-F238E27FC236}">
                <a16:creationId xmlns:a16="http://schemas.microsoft.com/office/drawing/2014/main" id="{9E56A7A9-2EA7-8342-A088-17D4FCB6BD74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2280C8E3-777D-544D-80D5-B7791BC58B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5079" y="3827004"/>
            <a:ext cx="2067391" cy="195093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F17A9CB7-967C-C743-9745-5972400AEAA9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728663"/>
            <a:ext cx="12192000" cy="6122987"/>
          </a:xfrm>
          <a:custGeom>
            <a:avLst/>
            <a:gdLst>
              <a:gd name="connsiteX0" fmla="*/ 0 w 12192000"/>
              <a:gd name="connsiteY0" fmla="*/ 0 h 6122987"/>
              <a:gd name="connsiteX1" fmla="*/ 12192000 w 12192000"/>
              <a:gd name="connsiteY1" fmla="*/ 0 h 6122987"/>
              <a:gd name="connsiteX2" fmla="*/ 12192000 w 12192000"/>
              <a:gd name="connsiteY2" fmla="*/ 2042886 h 6122987"/>
              <a:gd name="connsiteX3" fmla="*/ 8142436 w 12192000"/>
              <a:gd name="connsiteY3" fmla="*/ 2042886 h 6122987"/>
              <a:gd name="connsiteX4" fmla="*/ 8142436 w 12192000"/>
              <a:gd name="connsiteY4" fmla="*/ 6122987 h 6122987"/>
              <a:gd name="connsiteX5" fmla="*/ 0 w 12192000"/>
              <a:gd name="connsiteY5" fmla="*/ 6122987 h 6122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122987">
                <a:moveTo>
                  <a:pt x="0" y="0"/>
                </a:moveTo>
                <a:lnTo>
                  <a:pt x="12192000" y="0"/>
                </a:lnTo>
                <a:lnTo>
                  <a:pt x="12192000" y="2042886"/>
                </a:lnTo>
                <a:lnTo>
                  <a:pt x="8142436" y="2042886"/>
                </a:lnTo>
                <a:lnTo>
                  <a:pt x="8142436" y="6122987"/>
                </a:lnTo>
                <a:lnTo>
                  <a:pt x="0" y="6122987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6869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9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BLUE o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C0B215F-CC30-5D4D-8CBD-8143A5F9B79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7217A81-5A2C-1C46-B732-6D8F752FE7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9" name="Chapter Title">
            <a:extLst>
              <a:ext uri="{FF2B5EF4-FFF2-40B4-BE49-F238E27FC236}">
                <a16:creationId xmlns:a16="http://schemas.microsoft.com/office/drawing/2014/main" id="{C868D27C-4A66-3D40-B6D9-DA3C3E77BFD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1" name="Pg">
            <a:extLst>
              <a:ext uri="{FF2B5EF4-FFF2-40B4-BE49-F238E27FC236}">
                <a16:creationId xmlns:a16="http://schemas.microsoft.com/office/drawing/2014/main" id="{6307E64D-ABD6-964C-A9ED-0F2BC5F5DFCC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174E7FBC-DBF4-A843-BCC8-3AABD2752B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5079" y="3827004"/>
            <a:ext cx="2067391" cy="195093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3932ECF-C481-0042-9C4B-69AC0151F6CE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728663"/>
            <a:ext cx="12192000" cy="6122987"/>
          </a:xfrm>
          <a:custGeom>
            <a:avLst/>
            <a:gdLst>
              <a:gd name="connsiteX0" fmla="*/ 0 w 12192000"/>
              <a:gd name="connsiteY0" fmla="*/ 0 h 6122987"/>
              <a:gd name="connsiteX1" fmla="*/ 12192000 w 12192000"/>
              <a:gd name="connsiteY1" fmla="*/ 0 h 6122987"/>
              <a:gd name="connsiteX2" fmla="*/ 12192000 w 12192000"/>
              <a:gd name="connsiteY2" fmla="*/ 2042886 h 6122987"/>
              <a:gd name="connsiteX3" fmla="*/ 8142436 w 12192000"/>
              <a:gd name="connsiteY3" fmla="*/ 2042886 h 6122987"/>
              <a:gd name="connsiteX4" fmla="*/ 8142436 w 12192000"/>
              <a:gd name="connsiteY4" fmla="*/ 6122987 h 6122987"/>
              <a:gd name="connsiteX5" fmla="*/ 0 w 12192000"/>
              <a:gd name="connsiteY5" fmla="*/ 6122987 h 6122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122987">
                <a:moveTo>
                  <a:pt x="0" y="0"/>
                </a:moveTo>
                <a:lnTo>
                  <a:pt x="12192000" y="0"/>
                </a:lnTo>
                <a:lnTo>
                  <a:pt x="12192000" y="2042886"/>
                </a:lnTo>
                <a:lnTo>
                  <a:pt x="8142436" y="2042886"/>
                </a:lnTo>
                <a:lnTo>
                  <a:pt x="8142436" y="6122987"/>
                </a:lnTo>
                <a:lnTo>
                  <a:pt x="0" y="6122987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03139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9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VIOLET o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1327E40-7AE9-D645-B4A9-1806BB82E5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E624E95-DAF4-C047-A8A8-63805777AB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C4517ED0-C392-6B42-8C16-10ABCE91243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1" name="Pg">
            <a:extLst>
              <a:ext uri="{FF2B5EF4-FFF2-40B4-BE49-F238E27FC236}">
                <a16:creationId xmlns:a16="http://schemas.microsoft.com/office/drawing/2014/main" id="{1E2BD2C9-3898-8F41-A4FA-41AA87FB2AA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09A2B021-614E-CC4D-9416-F375CF1D86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5079" y="3827004"/>
            <a:ext cx="2067391" cy="195093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2918D5D-8AA4-3844-A0DB-F33D1F9E6380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728663"/>
            <a:ext cx="12192000" cy="6122987"/>
          </a:xfrm>
          <a:custGeom>
            <a:avLst/>
            <a:gdLst>
              <a:gd name="connsiteX0" fmla="*/ 0 w 12192000"/>
              <a:gd name="connsiteY0" fmla="*/ 0 h 6122987"/>
              <a:gd name="connsiteX1" fmla="*/ 12192000 w 12192000"/>
              <a:gd name="connsiteY1" fmla="*/ 0 h 6122987"/>
              <a:gd name="connsiteX2" fmla="*/ 12192000 w 12192000"/>
              <a:gd name="connsiteY2" fmla="*/ 2042886 h 6122987"/>
              <a:gd name="connsiteX3" fmla="*/ 8142436 w 12192000"/>
              <a:gd name="connsiteY3" fmla="*/ 2042886 h 6122987"/>
              <a:gd name="connsiteX4" fmla="*/ 8142436 w 12192000"/>
              <a:gd name="connsiteY4" fmla="*/ 6122987 h 6122987"/>
              <a:gd name="connsiteX5" fmla="*/ 0 w 12192000"/>
              <a:gd name="connsiteY5" fmla="*/ 6122987 h 6122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122987">
                <a:moveTo>
                  <a:pt x="0" y="0"/>
                </a:moveTo>
                <a:lnTo>
                  <a:pt x="12192000" y="0"/>
                </a:lnTo>
                <a:lnTo>
                  <a:pt x="12192000" y="2042886"/>
                </a:lnTo>
                <a:lnTo>
                  <a:pt x="8142436" y="2042886"/>
                </a:lnTo>
                <a:lnTo>
                  <a:pt x="8142436" y="6122987"/>
                </a:lnTo>
                <a:lnTo>
                  <a:pt x="0" y="6122987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75582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9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GRAY o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9A50EBF1-7D5E-3747-8077-326AF31A95C4}"/>
              </a:ext>
            </a:extLst>
          </p:cNvPr>
          <p:cNvSpPr/>
          <p:nvPr userDrawn="1"/>
        </p:nvSpPr>
        <p:spPr>
          <a:xfrm>
            <a:off x="8112124" y="2744788"/>
            <a:ext cx="4079875" cy="4113211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62A26EE-2250-A34C-87BB-A0544E4652C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C4517ED0-C392-6B42-8C16-10ABCE91243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1" name="Pg">
            <a:extLst>
              <a:ext uri="{FF2B5EF4-FFF2-40B4-BE49-F238E27FC236}">
                <a16:creationId xmlns:a16="http://schemas.microsoft.com/office/drawing/2014/main" id="{1E2BD2C9-3898-8F41-A4FA-41AA87FB2AA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024A7980-45D8-784D-8E4F-0D0053671D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5079" y="3827004"/>
            <a:ext cx="2067391" cy="195093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388F2E5B-FAE3-7C4A-9B56-8232512481C3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728663"/>
            <a:ext cx="12192000" cy="6122987"/>
          </a:xfrm>
          <a:custGeom>
            <a:avLst/>
            <a:gdLst>
              <a:gd name="connsiteX0" fmla="*/ 0 w 12192000"/>
              <a:gd name="connsiteY0" fmla="*/ 0 h 6122987"/>
              <a:gd name="connsiteX1" fmla="*/ 12192000 w 12192000"/>
              <a:gd name="connsiteY1" fmla="*/ 0 h 6122987"/>
              <a:gd name="connsiteX2" fmla="*/ 12192000 w 12192000"/>
              <a:gd name="connsiteY2" fmla="*/ 2042886 h 6122987"/>
              <a:gd name="connsiteX3" fmla="*/ 8142436 w 12192000"/>
              <a:gd name="connsiteY3" fmla="*/ 2042886 h 6122987"/>
              <a:gd name="connsiteX4" fmla="*/ 8142436 w 12192000"/>
              <a:gd name="connsiteY4" fmla="*/ 6122987 h 6122987"/>
              <a:gd name="connsiteX5" fmla="*/ 0 w 12192000"/>
              <a:gd name="connsiteY5" fmla="*/ 6122987 h 6122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122987">
                <a:moveTo>
                  <a:pt x="0" y="0"/>
                </a:moveTo>
                <a:lnTo>
                  <a:pt x="12192000" y="0"/>
                </a:lnTo>
                <a:lnTo>
                  <a:pt x="12192000" y="2042886"/>
                </a:lnTo>
                <a:lnTo>
                  <a:pt x="8142436" y="2042886"/>
                </a:lnTo>
                <a:lnTo>
                  <a:pt x="8142436" y="6122987"/>
                </a:lnTo>
                <a:lnTo>
                  <a:pt x="0" y="6122987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86937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9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Image-Bullets WHITE on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0D7455A-EE1C-6647-9E82-6D3257DC72EB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2B83497-AC17-AA4D-A408-BC1541DD9E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BF5C9CE-D32E-5541-B85A-FA6797185C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4D7288D-C250-DA4D-944D-CBA7BA3285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13171B07-0311-7047-85E4-7F1892F0E926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D9ECAC6B-55DF-3941-B806-4599F63175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Body Text">
            <a:extLst>
              <a:ext uri="{FF2B5EF4-FFF2-40B4-BE49-F238E27FC236}">
                <a16:creationId xmlns:a16="http://schemas.microsoft.com/office/drawing/2014/main" id="{56B22538-7C5A-A647-910D-69804A260BD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21545BC8-C647-F044-8E45-C6217831E34E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079875" y="1749425"/>
            <a:ext cx="3924300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665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Slide_Full Bleed Image_RED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3 children sit cross-legged on a library's floor as a book is read to them. Their faces show they are engaged with each other and the story.&#10;">
            <a:extLst>
              <a:ext uri="{FF2B5EF4-FFF2-40B4-BE49-F238E27FC236}">
                <a16:creationId xmlns:a16="http://schemas.microsoft.com/office/drawing/2014/main" id="{E7890813-9A2C-C445-8885-75DF0271E8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262"/>
            <a:ext cx="12192000" cy="6851738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3B1A09C3-C221-5247-95D0-510AEE25B7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E21A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Display Date">
            <a:extLst>
              <a:ext uri="{FF2B5EF4-FFF2-40B4-BE49-F238E27FC236}">
                <a16:creationId xmlns:a16="http://schemas.microsoft.com/office/drawing/2014/main" id="{AB73912B-6039-1040-8EEA-A96C8859833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64802" y="5893085"/>
            <a:ext cx="1811481" cy="31153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6" name="Name &amp; Surname">
            <a:extLst>
              <a:ext uri="{FF2B5EF4-FFF2-40B4-BE49-F238E27FC236}">
                <a16:creationId xmlns:a16="http://schemas.microsoft.com/office/drawing/2014/main" id="{E00230D1-031F-1540-AAE8-BEEEB0C2CCA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64802" y="5508815"/>
            <a:ext cx="2954336" cy="31153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473FF405-19A5-2B49-9177-D4AA4433026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64802" y="4486707"/>
            <a:ext cx="2760436" cy="354013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10" name="Title 2">
            <a:extLst>
              <a:ext uri="{FF2B5EF4-FFF2-40B4-BE49-F238E27FC236}">
                <a16:creationId xmlns:a16="http://schemas.microsoft.com/office/drawing/2014/main" id="{8F299F7E-7821-614A-83A4-8369943FC2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79316" y="3395900"/>
            <a:ext cx="2745922" cy="9403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9" name="Picture 8" descr="McGraw Hill red cube logo ">
            <a:extLst>
              <a:ext uri="{FF2B5EF4-FFF2-40B4-BE49-F238E27FC236}">
                <a16:creationId xmlns:a16="http://schemas.microsoft.com/office/drawing/2014/main" id="{91FA0969-9821-8F42-A427-8BF01C4751A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750" y="18557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69757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9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Image-Bullets RED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7D2DC8A1-421B-D94B-8FDF-9154C2780425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426FD28-B719-1F4E-8B2C-2180713E8E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089FB6B-4E4C-9945-8D76-D4163E41BB1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1" name="Chapter Title">
            <a:extLst>
              <a:ext uri="{FF2B5EF4-FFF2-40B4-BE49-F238E27FC236}">
                <a16:creationId xmlns:a16="http://schemas.microsoft.com/office/drawing/2014/main" id="{82355C5D-BD51-6E43-B9BF-49F809DD49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23F56041-7362-CC41-84C6-DF9F558C0E7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BED6375A-D484-F047-8EE7-94EE16B17B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3" name="Body Text">
            <a:extLst>
              <a:ext uri="{FF2B5EF4-FFF2-40B4-BE49-F238E27FC236}">
                <a16:creationId xmlns:a16="http://schemas.microsoft.com/office/drawing/2014/main" id="{FA312E64-CA61-0C49-AFA7-E9AED0BB74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D579BCA-890F-CE47-97E0-5990F85F808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079875" y="1749425"/>
            <a:ext cx="3924300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6932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Image-Bullets BLUE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5F53538-1E06-AD4F-B660-530EE363B8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4" name="Chapter Title">
            <a:extLst>
              <a:ext uri="{FF2B5EF4-FFF2-40B4-BE49-F238E27FC236}">
                <a16:creationId xmlns:a16="http://schemas.microsoft.com/office/drawing/2014/main" id="{DFE8DBA8-3886-D840-99D3-91E700FD03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E942A5A9-5D2B-874B-85C2-0FB2FF903948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90803EF-B185-1A4B-AEB0-EB63A68BFA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3" name="Body Text">
            <a:extLst>
              <a:ext uri="{FF2B5EF4-FFF2-40B4-BE49-F238E27FC236}">
                <a16:creationId xmlns:a16="http://schemas.microsoft.com/office/drawing/2014/main" id="{0E12685E-9A34-D043-B3F4-B6002C815ED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21F6CFC0-4321-7D4C-8CA0-F170D87ABDF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079875" y="1749425"/>
            <a:ext cx="3924300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63777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Image-Bullets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961F419D-113E-EA4A-A5C8-2382F62B95B0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396FB7D-BC9F-1346-A5B7-84DCD85FCD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E3B9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6D857EF-54C6-E245-8DC5-BB2E357508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5" name="Chapter Title">
            <a:extLst>
              <a:ext uri="{FF2B5EF4-FFF2-40B4-BE49-F238E27FC236}">
                <a16:creationId xmlns:a16="http://schemas.microsoft.com/office/drawing/2014/main" id="{D467B54B-9FE7-4E4F-98D9-60E36D1BC2D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3390C15C-09AA-6441-8E32-6860B2A5815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1F03ADE6-71A7-C548-9F6E-82FDBBD6C8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accent4">
                    <a:lumMod val="25000"/>
                  </a:schemeClr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1" name="Body text">
            <a:extLst>
              <a:ext uri="{FF2B5EF4-FFF2-40B4-BE49-F238E27FC236}">
                <a16:creationId xmlns:a16="http://schemas.microsoft.com/office/drawing/2014/main" id="{64F83AE8-A8B8-434F-AA98-B36F5C5B982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ts val="2000"/>
              </a:lnSpc>
              <a:spcBef>
                <a:spcPts val="2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bg1"/>
                </a:solidFill>
              </a:defRPr>
            </a:lvl1pPr>
          </a:lstStyle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ec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uer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ipiscing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i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sed diam non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mmy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ismod</a:t>
            </a:r>
            <a:endParaRPr lang="en-US" sz="16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ncidun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a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ee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lore magna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am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olutpa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si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im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d minim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iam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trud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rci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tion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llamcorper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scipi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bortis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orem ipsum dolor sit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i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. Diam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nummy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ismod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lore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gn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endParaRPr lang="en-US" sz="16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65A01FB2-D53F-9144-9E6D-230FE757F09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079875" y="1749425"/>
            <a:ext cx="3924300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07249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44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Text-Image WHITE on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0D7455A-EE1C-6647-9E82-6D3257DC72EB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2B83497-AC17-AA4D-A408-BC1541DD9E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BBEFBCB-AB08-7140-8567-4FD4D04CAD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4D7288D-C250-DA4D-944D-CBA7BA3285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13171B07-0311-7047-85E4-7F1892F0E926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0C06EC2B-3880-F14F-AE7E-34F53ED22B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Body Text">
            <a:extLst>
              <a:ext uri="{FF2B5EF4-FFF2-40B4-BE49-F238E27FC236}">
                <a16:creationId xmlns:a16="http://schemas.microsoft.com/office/drawing/2014/main" id="{56B22538-7C5A-A647-910D-69804A260BD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2027" y="1736725"/>
            <a:ext cx="3807947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21545BC8-C647-F044-8E45-C6217831E34E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7999974" y="1749425"/>
            <a:ext cx="4192026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45817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Text-Image RED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7D2DC8A1-421B-D94B-8FDF-9154C2780425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426FD28-B719-1F4E-8B2C-2180713E8E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1FB85C7-7209-144C-8D24-339DFB0EC35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1" name="Chapter Title">
            <a:extLst>
              <a:ext uri="{FF2B5EF4-FFF2-40B4-BE49-F238E27FC236}">
                <a16:creationId xmlns:a16="http://schemas.microsoft.com/office/drawing/2014/main" id="{82355C5D-BD51-6E43-B9BF-49F809DD49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23F56041-7362-CC41-84C6-DF9F558C0E7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EAEF899C-3DCF-8C49-9396-92C59D4A495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3" name="Body Text">
            <a:extLst>
              <a:ext uri="{FF2B5EF4-FFF2-40B4-BE49-F238E27FC236}">
                <a16:creationId xmlns:a16="http://schemas.microsoft.com/office/drawing/2014/main" id="{FA312E64-CA61-0C49-AFA7-E9AED0BB74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86451" y="1736725"/>
            <a:ext cx="3919783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D579BCA-890F-CE47-97E0-5990F85F808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006234" y="1749425"/>
            <a:ext cx="4185766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97574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Text-Image BLUE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5F642D6-3553-324F-921E-A1CD808FEC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4" name="Chapter Title">
            <a:extLst>
              <a:ext uri="{FF2B5EF4-FFF2-40B4-BE49-F238E27FC236}">
                <a16:creationId xmlns:a16="http://schemas.microsoft.com/office/drawing/2014/main" id="{DFE8DBA8-3886-D840-99D3-91E700FD03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E942A5A9-5D2B-874B-85C2-0FB2FF903948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CC77AEF-848E-1B4D-806C-A42A975189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2" name="Body Text">
            <a:extLst>
              <a:ext uri="{FF2B5EF4-FFF2-40B4-BE49-F238E27FC236}">
                <a16:creationId xmlns:a16="http://schemas.microsoft.com/office/drawing/2014/main" id="{FE6FF244-ECCD-FB4B-888A-4E5725DEDCD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86451" y="1736725"/>
            <a:ext cx="3919783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EE8CE71D-FD18-3C4F-A0F0-3D4D2F934A3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006234" y="1749425"/>
            <a:ext cx="4185766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28565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Text-Image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961F419D-113E-EA4A-A5C8-2382F62B95B0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6D857EF-54C6-E245-8DC5-BB2E357508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5" name="Chapter Title">
            <a:extLst>
              <a:ext uri="{FF2B5EF4-FFF2-40B4-BE49-F238E27FC236}">
                <a16:creationId xmlns:a16="http://schemas.microsoft.com/office/drawing/2014/main" id="{D467B54B-9FE7-4E4F-98D9-60E36D1BC2D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3390C15C-09AA-6441-8E32-6860B2A5815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5E37CA6-007B-07DA-14EA-257D66F241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4" name="Pg">
            <a:extLst>
              <a:ext uri="{FF2B5EF4-FFF2-40B4-BE49-F238E27FC236}">
                <a16:creationId xmlns:a16="http://schemas.microsoft.com/office/drawing/2014/main" id="{AEE4B3C3-6D78-A2BC-C1D1-633EC0B75BB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BEF04848-82E9-8D9E-EDA9-0D1BEFB2B6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8" name="Body Text">
            <a:extLst>
              <a:ext uri="{FF2B5EF4-FFF2-40B4-BE49-F238E27FC236}">
                <a16:creationId xmlns:a16="http://schemas.microsoft.com/office/drawing/2014/main" id="{F46D2F08-BFA1-323D-8041-A4B3D061EF6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86451" y="1736725"/>
            <a:ext cx="3919783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bg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amet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adipiscing elit, sed diam non </a:t>
            </a:r>
            <a:r>
              <a:rPr lang="en-US" err="1"/>
              <a:t>ummy</a:t>
            </a:r>
            <a:r>
              <a:rPr lang="en-US"/>
              <a:t> nibh euismod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Tincidunt ut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erat volutpat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amet, elit sed. Diam nonummy nibh euismod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5FC09504-150C-61B2-5FFF-68F698B29B2D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006234" y="1749425"/>
            <a:ext cx="4185766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3186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44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 Slide_with Image and Call-Out Box_WHITE on RED_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0D7455A-EE1C-6647-9E82-6D3257DC72EB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2B83497-AC17-AA4D-A408-BC1541DD9E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79875" y="1750105"/>
            <a:ext cx="4086451" cy="40864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14B6D6C-C29B-A548-A31E-1599E90232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4D7288D-C250-DA4D-944D-CBA7BA3285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13171B07-0311-7047-85E4-7F1892F0E926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6B65A249-F039-1443-8CC7-E8D46EA69B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864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Body Text">
            <a:extLst>
              <a:ext uri="{FF2B5EF4-FFF2-40B4-BE49-F238E27FC236}">
                <a16:creationId xmlns:a16="http://schemas.microsoft.com/office/drawing/2014/main" id="{56B22538-7C5A-A647-910D-69804A260BD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21545BC8-C647-F044-8E45-C6217831E34E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0" y="1749425"/>
            <a:ext cx="4079875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91817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 Slide_with Image and Call-Out Box_RED on GRAY_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7D2DC8A1-421B-D94B-8FDF-9154C2780425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426FD28-B719-1F4E-8B2C-2180713E8E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79875" y="1750105"/>
            <a:ext cx="4086451" cy="40864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E0ACFF1-F760-9646-978E-A45F7A2F22D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1" name="Chapter Title">
            <a:extLst>
              <a:ext uri="{FF2B5EF4-FFF2-40B4-BE49-F238E27FC236}">
                <a16:creationId xmlns:a16="http://schemas.microsoft.com/office/drawing/2014/main" id="{82355C5D-BD51-6E43-B9BF-49F809DD49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23F56041-7362-CC41-84C6-DF9F558C0E7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BF07E239-B479-4B49-A66C-67B5E5D8E5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69036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3" name="Body Text">
            <a:extLst>
              <a:ext uri="{FF2B5EF4-FFF2-40B4-BE49-F238E27FC236}">
                <a16:creationId xmlns:a16="http://schemas.microsoft.com/office/drawing/2014/main" id="{FA312E64-CA61-0C49-AFA7-E9AED0BB74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D579BCA-890F-CE47-97E0-5990F85F808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-6576" y="1749425"/>
            <a:ext cx="4086451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3428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 Slide_with Image and Call-Out Box_BLUE on GRAY_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47323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79875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F039C16-092F-A740-B960-ADDCD3D911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4" name="Chapter Title">
            <a:extLst>
              <a:ext uri="{FF2B5EF4-FFF2-40B4-BE49-F238E27FC236}">
                <a16:creationId xmlns:a16="http://schemas.microsoft.com/office/drawing/2014/main" id="{DFE8DBA8-3886-D840-99D3-91E700FD03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E942A5A9-5D2B-874B-85C2-0FB2FF903948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E21EE8B-6895-1B4A-9E48-4992928A95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41935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21F6CFC0-4321-7D4C-8CA0-F170D87ABDF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0" y="1749425"/>
            <a:ext cx="4102551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3" name="Body Text">
            <a:extLst>
              <a:ext uri="{FF2B5EF4-FFF2-40B4-BE49-F238E27FC236}">
                <a16:creationId xmlns:a16="http://schemas.microsoft.com/office/drawing/2014/main" id="{0E12685E-9A34-D043-B3F4-B6002C815ED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52487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Full Bleed Image_BLUE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In the middle of his classroom, an elementary school teacher leans down to point at a student's paper. The boy holds a red pencil and smiles at his work.">
            <a:extLst>
              <a:ext uri="{FF2B5EF4-FFF2-40B4-BE49-F238E27FC236}">
                <a16:creationId xmlns:a16="http://schemas.microsoft.com/office/drawing/2014/main" id="{E41C6DCE-1CEF-5CFA-D3FF-5A71CA239D8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72068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FC0B215F-CC30-5D4D-8CBD-8143A5F9B79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Display Date">
            <a:extLst>
              <a:ext uri="{FF2B5EF4-FFF2-40B4-BE49-F238E27FC236}">
                <a16:creationId xmlns:a16="http://schemas.microsoft.com/office/drawing/2014/main" id="{7F129D7E-B24B-D243-8677-D2E88D580E8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64801" y="5893085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1" name="Name &amp; Surname">
            <a:extLst>
              <a:ext uri="{FF2B5EF4-FFF2-40B4-BE49-F238E27FC236}">
                <a16:creationId xmlns:a16="http://schemas.microsoft.com/office/drawing/2014/main" id="{958D4D3F-3519-B04D-A7AB-B2717A8E5D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64801" y="5508815"/>
            <a:ext cx="2939823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59209D60-98AC-A347-9518-252F7F6486C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64801" y="4486707"/>
            <a:ext cx="2760436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813217E5-B63E-6E47-AB63-FCA8E4388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79316" y="3395900"/>
            <a:ext cx="2745922" cy="9403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5" name="Picture 14" descr="McGraw Hill red cube logo ">
            <a:extLst>
              <a:ext uri="{FF2B5EF4-FFF2-40B4-BE49-F238E27FC236}">
                <a16:creationId xmlns:a16="http://schemas.microsoft.com/office/drawing/2014/main" id="{55C15131-0BCC-E64D-88F8-AA080E056CD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750" y="18557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74716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8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 Slide_with Image and Call-Out Box_LIGHT VIOLET on VIOLET_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961F419D-113E-EA4A-A5C8-2382F62B95B0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396FB7D-BC9F-1346-A5B7-84DCD85FCD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38600" y="1750105"/>
            <a:ext cx="4086451" cy="4086451"/>
          </a:xfrm>
          <a:prstGeom prst="rect">
            <a:avLst/>
          </a:prstGeom>
          <a:solidFill>
            <a:srgbClr val="E3B9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5E0767D-8A25-6C4A-8364-3B7A3F82FA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5" name="Chapter Title">
            <a:extLst>
              <a:ext uri="{FF2B5EF4-FFF2-40B4-BE49-F238E27FC236}">
                <a16:creationId xmlns:a16="http://schemas.microsoft.com/office/drawing/2014/main" id="{D467B54B-9FE7-4E4F-98D9-60E36D1BC2D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3390C15C-09AA-6441-8E32-6860B2A5815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B463D1A8-1111-114B-9890-0CE0E14B7D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41935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65A01FB2-D53F-9144-9E6D-230FE757F09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0" y="1749425"/>
            <a:ext cx="4038600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1" name="Body text">
            <a:extLst>
              <a:ext uri="{FF2B5EF4-FFF2-40B4-BE49-F238E27FC236}">
                <a16:creationId xmlns:a16="http://schemas.microsoft.com/office/drawing/2014/main" id="{64F83AE8-A8B8-434F-AA98-B36F5C5B982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ts val="2000"/>
              </a:lnSpc>
              <a:spcBef>
                <a:spcPts val="2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bg1"/>
                </a:solidFill>
              </a:defRPr>
            </a:lvl1pPr>
          </a:lstStyle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ec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uer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ipiscing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i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sed diam non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mmy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ismod</a:t>
            </a:r>
            <a:endParaRPr lang="en-US" sz="16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ncidun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a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ee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lore magna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am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olutpa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si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im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d minim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iam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trud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rci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tion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llamcorper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scipi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bortis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orem ipsum dolor sit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i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. Diam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nummy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ismod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lore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gn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endParaRPr lang="en-US" sz="16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64119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44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List_WHITE on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0D7455A-EE1C-6647-9E82-6D3257DC72EB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2B83497-AC17-AA4D-A408-BC1541DD9E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8260F9E-07AF-6041-980F-7BA9115C09F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5DC50E46-D1E3-BA46-B0BD-6C842CD589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8B8F9C1D-0289-1A42-AF78-E70116C939D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F106F7C5-7A97-E444-BFB0-CF29BEA883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5" name="Body Text">
            <a:extLst>
              <a:ext uri="{FF2B5EF4-FFF2-40B4-BE49-F238E27FC236}">
                <a16:creationId xmlns:a16="http://schemas.microsoft.com/office/drawing/2014/main" id="{3F162B5C-891C-0B44-A2E9-6A1FC9970C9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adipiscing elit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ut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enim ad minim veniam, quis nostrud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amet, elit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ut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enim ad minim veniam, quis nostrud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21502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List_RED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7D2DC8A1-421B-D94B-8FDF-9154C2780425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426FD28-B719-1F4E-8B2C-2180713E8E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096C25C-4E0B-8F45-A598-DEBA7C70A12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0" name="Chapter Title">
            <a:extLst>
              <a:ext uri="{FF2B5EF4-FFF2-40B4-BE49-F238E27FC236}">
                <a16:creationId xmlns:a16="http://schemas.microsoft.com/office/drawing/2014/main" id="{2695B54C-C4F8-924F-88E8-1F8C161808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7A5D2E48-E60F-5D4A-A477-CBD140170AB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346516CC-87F2-EF46-9DE4-E73DBE2F3B5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7E84D754-ABE1-8845-ABAC-A3C9071350A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60051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List_BLUE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C7C5E04-8E76-B248-8774-9FFC64C5F1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C5BE4A64-884B-5841-B4CC-BBBF316FD7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11234F79-2BE8-2C4C-ADCD-CBDE0C61CBF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8176B59D-8851-AB40-AB81-6FD2A69F4F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11678EC7-A5CF-9448-B748-B101B6E7CC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90892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List_LIGHT VIOLET on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961F419D-113E-EA4A-A5C8-2382F62B95B0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396FB7D-BC9F-1346-A5B7-84DCD85FCD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E3B9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8B3ECB7-D9C5-7546-A06E-9CF6F67D236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20D7435D-F882-234A-BBC8-20C90114E1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C5FA2283-2471-EA4B-8E96-CF81D742253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4D95F659-D768-DA4C-A100-D623125B2D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5" name="Body Text">
            <a:extLst>
              <a:ext uri="{FF2B5EF4-FFF2-40B4-BE49-F238E27FC236}">
                <a16:creationId xmlns:a16="http://schemas.microsoft.com/office/drawing/2014/main" id="{C3F0DC8F-100D-6D40-8AA6-0019D1E024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01546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with Bullets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0D7455A-EE1C-6647-9E82-6D3257DC72EB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C6DC658-BECF-B54E-AC16-9CF646F90F6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5DC50E46-D1E3-BA46-B0BD-6C842CD589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8B8F9C1D-0289-1A42-AF78-E70116C939D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ECBAEEB7-4D07-4E47-9AD6-1302A0606B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43400" y="1755386"/>
            <a:ext cx="5729288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854C5140-16E5-5B49-8707-20A9139FD7A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-42375" y="1749425"/>
            <a:ext cx="4122250" cy="4092575"/>
          </a:xfrm>
        </p:spPr>
        <p:txBody>
          <a:bodyPr/>
          <a:lstStyle/>
          <a:p>
            <a:endParaRPr lang="en-US"/>
          </a:p>
        </p:txBody>
      </p:sp>
      <p:sp>
        <p:nvSpPr>
          <p:cNvPr id="5" name="Body Text">
            <a:extLst>
              <a:ext uri="{FF2B5EF4-FFF2-40B4-BE49-F238E27FC236}">
                <a16:creationId xmlns:a16="http://schemas.microsoft.com/office/drawing/2014/main" id="{3F162B5C-891C-0B44-A2E9-6A1FC9970C9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2488891"/>
            <a:ext cx="7081838" cy="3348347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50113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Bullets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961F419D-113E-EA4A-A5C8-2382F62B95B0}"/>
              </a:ext>
            </a:extLst>
          </p:cNvPr>
          <p:cNvSpPr/>
          <p:nvPr userDrawn="1"/>
        </p:nvSpPr>
        <p:spPr>
          <a:xfrm>
            <a:off x="0" y="728663"/>
            <a:ext cx="12192000" cy="6129337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2AEA48F-3B08-6D49-AAE9-9E6A4A5E47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1E73F80A-1813-DA4F-8DE2-64EB7F213B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C5FA2283-2471-EA4B-8E96-CF81D742253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DA36B83B-6BD2-D144-A9FF-1152262C28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43400" y="1755386"/>
            <a:ext cx="5729288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5" name="Body Text">
            <a:extLst>
              <a:ext uri="{FF2B5EF4-FFF2-40B4-BE49-F238E27FC236}">
                <a16:creationId xmlns:a16="http://schemas.microsoft.com/office/drawing/2014/main" id="{C3F0DC8F-100D-6D40-8AA6-0019D1E024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2508547"/>
            <a:ext cx="7081838" cy="3328692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7156F9C9-D4B2-4542-B1D5-6C51BC91E55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-42375" y="1749425"/>
            <a:ext cx="4122250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60545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with Bullets_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7D2DC8A1-421B-D94B-8FDF-9154C2780425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2D75399-CE4F-B348-BAB4-FC82DF0607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0" name="Chapter Title">
            <a:extLst>
              <a:ext uri="{FF2B5EF4-FFF2-40B4-BE49-F238E27FC236}">
                <a16:creationId xmlns:a16="http://schemas.microsoft.com/office/drawing/2014/main" id="{2695B54C-C4F8-924F-88E8-1F8C161808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7A5D2E48-E60F-5D4A-A477-CBD140170AB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95F10BB2-BD13-C546-AA6B-50B0925DB9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43400" y="1755386"/>
            <a:ext cx="5729288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7E84D754-ABE1-8845-ABAC-A3C9071350A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2508545"/>
            <a:ext cx="7081838" cy="332869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37111FFF-42FA-CE45-BFD6-0F5263B7875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-42375" y="1749425"/>
            <a:ext cx="4122250" cy="40925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5999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rge Text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>
            <a:extLst>
              <a:ext uri="{FF2B5EF4-FFF2-40B4-BE49-F238E27FC236}">
                <a16:creationId xmlns:a16="http://schemas.microsoft.com/office/drawing/2014/main" id="{7F32332A-D1E5-0344-8F4A-15782F24E2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1205032"/>
            <a:ext cx="11851251" cy="5142543"/>
            <a:chOff x="-14169" y="507347"/>
            <a:chExt cx="11851251" cy="5142543"/>
          </a:xfrm>
          <a:solidFill>
            <a:schemeClr val="accent1"/>
          </a:solidFill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5D639499-1066-AF40-AE90-26A09D51A0AE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941F98C-5BFA-6740-9613-30D0EA32ABE5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A82A5495-6A16-7E4F-A10F-15796EDFE106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grpFill/>
          </p:grpSpPr>
          <p:sp>
            <p:nvSpPr>
              <p:cNvPr id="18" name="Parallelogram 17">
                <a:extLst>
                  <a:ext uri="{FF2B5EF4-FFF2-40B4-BE49-F238E27FC236}">
                    <a16:creationId xmlns:a16="http://schemas.microsoft.com/office/drawing/2014/main" id="{621988DE-95DC-EE45-B046-15D64BBAD7B4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9" name="Parallelogram 18">
                <a:extLst>
                  <a:ext uri="{FF2B5EF4-FFF2-40B4-BE49-F238E27FC236}">
                    <a16:creationId xmlns:a16="http://schemas.microsoft.com/office/drawing/2014/main" id="{8C4E5648-7B44-9343-B639-CE2FCAA69CE2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86DBC325-AACD-E348-B1CE-AA37A6B0B9CF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7360358-6D06-CC44-8D16-DB5DC58495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0" name="Chapter Title">
            <a:extLst>
              <a:ext uri="{FF2B5EF4-FFF2-40B4-BE49-F238E27FC236}">
                <a16:creationId xmlns:a16="http://schemas.microsoft.com/office/drawing/2014/main" id="{7C7FF68D-EE65-2F48-93AE-190A7B1020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3" name="Pg">
            <a:extLst>
              <a:ext uri="{FF2B5EF4-FFF2-40B4-BE49-F238E27FC236}">
                <a16:creationId xmlns:a16="http://schemas.microsoft.com/office/drawing/2014/main" id="{74E3B440-1518-AF4D-8F84-A9675B04F0A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3612D239-8581-4C4B-90B8-B54512088E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7" name="Column 1">
            <a:extLst>
              <a:ext uri="{FF2B5EF4-FFF2-40B4-BE49-F238E27FC236}">
                <a16:creationId xmlns:a16="http://schemas.microsoft.com/office/drawing/2014/main" id="{599A04D7-A149-394C-B40F-92490463FE9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34" y="1736496"/>
            <a:ext cx="3201988" cy="43740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r>
              <a:rPr lang="en-US" b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/>
              <a:t>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  <a:p>
            <a:pPr lvl="0"/>
            <a:endParaRPr lang="en-US"/>
          </a:p>
        </p:txBody>
      </p:sp>
      <p:sp>
        <p:nvSpPr>
          <p:cNvPr id="12" name="Column 2">
            <a:extLst>
              <a:ext uri="{FF2B5EF4-FFF2-40B4-BE49-F238E27FC236}">
                <a16:creationId xmlns:a16="http://schemas.microsoft.com/office/drawing/2014/main" id="{F5F1C930-B750-C841-B8C0-548499F4AFC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99078" y="1738591"/>
            <a:ext cx="6053560" cy="4168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lacini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, convallis a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ell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raesen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mass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convallis 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ellentesqu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sta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non nis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lementu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du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urbi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rcu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ccumsa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imperdi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et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at sem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86817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200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rge Text_RED and LIGHT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6" name="Group 55">
            <a:extLst>
              <a:ext uri="{FF2B5EF4-FFF2-40B4-BE49-F238E27FC236}">
                <a16:creationId xmlns:a16="http://schemas.microsoft.com/office/drawing/2014/main" id="{5177BBD6-89E5-8A4C-A618-63E9F5266BD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3447" y="1205031"/>
            <a:ext cx="11908923" cy="5164009"/>
            <a:chOff x="-13447" y="1205031"/>
            <a:chExt cx="11908923" cy="5164009"/>
          </a:xfrm>
        </p:grpSpPr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8A07E183-013B-4343-998D-88050E602673}"/>
                </a:ext>
              </a:extLst>
            </p:cNvPr>
            <p:cNvGrpSpPr/>
            <p:nvPr userDrawn="1"/>
          </p:nvGrpSpPr>
          <p:grpSpPr>
            <a:xfrm>
              <a:off x="10799406" y="1609994"/>
              <a:ext cx="1096070" cy="200297"/>
              <a:chOff x="10799406" y="1609994"/>
              <a:chExt cx="1096070" cy="200297"/>
            </a:xfrm>
          </p:grpSpPr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6128CCC9-E183-EB47-863F-66E818DAF996}"/>
                  </a:ext>
                </a:extLst>
              </p:cNvPr>
              <p:cNvSpPr/>
              <p:nvPr userDrawn="1"/>
            </p:nvSpPr>
            <p:spPr>
              <a:xfrm rot="18900000">
                <a:off x="10799406" y="1609994"/>
                <a:ext cx="1013101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BE3AC1E5-E15F-2140-9827-AA174AFAE02C}"/>
                  </a:ext>
                </a:extLst>
              </p:cNvPr>
              <p:cNvSpPr/>
              <p:nvPr userDrawn="1"/>
            </p:nvSpPr>
            <p:spPr>
              <a:xfrm rot="18900000">
                <a:off x="10879377" y="1693580"/>
                <a:ext cx="1016099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90780782-1930-9744-964A-B91E28E603A0}"/>
                </a:ext>
              </a:extLst>
            </p:cNvPr>
            <p:cNvGrpSpPr/>
            <p:nvPr userDrawn="1"/>
          </p:nvGrpSpPr>
          <p:grpSpPr>
            <a:xfrm>
              <a:off x="10894136" y="1205031"/>
              <a:ext cx="940179" cy="935947"/>
              <a:chOff x="10894136" y="1205031"/>
              <a:chExt cx="940179" cy="935947"/>
            </a:xfrm>
          </p:grpSpPr>
          <p:grpSp>
            <p:nvGrpSpPr>
              <p:cNvPr id="38" name="Group 37">
                <a:extLst>
                  <a:ext uri="{FF2B5EF4-FFF2-40B4-BE49-F238E27FC236}">
                    <a16:creationId xmlns:a16="http://schemas.microsoft.com/office/drawing/2014/main" id="{45EC1281-6FEB-A14E-8D42-5C0399A71E23}"/>
                  </a:ext>
                </a:extLst>
              </p:cNvPr>
              <p:cNvGrpSpPr/>
              <p:nvPr userDrawn="1"/>
            </p:nvGrpSpPr>
            <p:grpSpPr>
              <a:xfrm>
                <a:off x="10896080" y="1205031"/>
                <a:ext cx="938235" cy="929262"/>
                <a:chOff x="3969603" y="2167014"/>
                <a:chExt cx="929262" cy="929262"/>
              </a:xfrm>
              <a:solidFill>
                <a:srgbClr val="E3B9FC"/>
              </a:solidFill>
            </p:grpSpPr>
            <p:sp>
              <p:nvSpPr>
                <p:cNvPr id="47" name="Parallelogram 46">
                  <a:extLst>
                    <a:ext uri="{FF2B5EF4-FFF2-40B4-BE49-F238E27FC236}">
                      <a16:creationId xmlns:a16="http://schemas.microsoft.com/office/drawing/2014/main" id="{7D96E391-66F0-0645-9D24-AEA901FA1B2B}"/>
                    </a:ext>
                  </a:extLst>
                </p:cNvPr>
                <p:cNvSpPr/>
                <p:nvPr userDrawn="1"/>
              </p:nvSpPr>
              <p:spPr>
                <a:xfrm>
                  <a:off x="3969603" y="2168473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8" name="Parallelogram 47">
                  <a:extLst>
                    <a:ext uri="{FF2B5EF4-FFF2-40B4-BE49-F238E27FC236}">
                      <a16:creationId xmlns:a16="http://schemas.microsoft.com/office/drawing/2014/main" id="{0B1B1425-47C9-7C46-926A-21890752B4CD}"/>
                    </a:ext>
                  </a:extLst>
                </p:cNvPr>
                <p:cNvSpPr/>
                <p:nvPr userDrawn="1"/>
              </p:nvSpPr>
              <p:spPr>
                <a:xfrm rot="5400000" flipH="1">
                  <a:off x="4321438" y="2518849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39" name="Group 38">
                <a:extLst>
                  <a:ext uri="{FF2B5EF4-FFF2-40B4-BE49-F238E27FC236}">
                    <a16:creationId xmlns:a16="http://schemas.microsoft.com/office/drawing/2014/main" id="{5195C950-E43E-BE48-8808-D0948E9FAB67}"/>
                  </a:ext>
                </a:extLst>
              </p:cNvPr>
              <p:cNvGrpSpPr/>
              <p:nvPr userDrawn="1"/>
            </p:nvGrpSpPr>
            <p:grpSpPr>
              <a:xfrm>
                <a:off x="10894136" y="1318957"/>
                <a:ext cx="831297" cy="822021"/>
                <a:chOff x="3966636" y="2277354"/>
                <a:chExt cx="823347" cy="822021"/>
              </a:xfrm>
              <a:solidFill>
                <a:srgbClr val="06235B"/>
              </a:solidFill>
            </p:grpSpPr>
            <p:sp>
              <p:nvSpPr>
                <p:cNvPr id="45" name="Parallelogram 61">
                  <a:extLst>
                    <a:ext uri="{FF2B5EF4-FFF2-40B4-BE49-F238E27FC236}">
                      <a16:creationId xmlns:a16="http://schemas.microsoft.com/office/drawing/2014/main" id="{9DCC372B-6B4D-924C-A629-07FA51756A14}"/>
                    </a:ext>
                  </a:extLst>
                </p:cNvPr>
                <p:cNvSpPr/>
                <p:nvPr userDrawn="1"/>
              </p:nvSpPr>
              <p:spPr>
                <a:xfrm>
                  <a:off x="3966636" y="2277354"/>
                  <a:ext cx="821312" cy="119886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19886">
                      <a:moveTo>
                        <a:pt x="0" y="119886"/>
                      </a:moveTo>
                      <a:lnTo>
                        <a:pt x="112441" y="3175"/>
                      </a:lnTo>
                      <a:lnTo>
                        <a:pt x="821312" y="0"/>
                      </a:lnTo>
                      <a:lnTo>
                        <a:pt x="708871" y="116711"/>
                      </a:lnTo>
                      <a:lnTo>
                        <a:pt x="0" y="119886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6" name="Parallelogram 61">
                  <a:extLst>
                    <a:ext uri="{FF2B5EF4-FFF2-40B4-BE49-F238E27FC236}">
                      <a16:creationId xmlns:a16="http://schemas.microsoft.com/office/drawing/2014/main" id="{C32C7223-D73E-5F40-B470-48EB281F38CE}"/>
                    </a:ext>
                  </a:extLst>
                </p:cNvPr>
                <p:cNvSpPr/>
                <p:nvPr userDrawn="1"/>
              </p:nvSpPr>
              <p:spPr>
                <a:xfrm rot="16200000" flipH="1">
                  <a:off x="4317797" y="2627188"/>
                  <a:ext cx="821312" cy="123061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8791 w 821312"/>
                    <a:gd name="connsiteY1" fmla="*/ 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23061 h 123061"/>
                    <a:gd name="connsiteX1" fmla="*/ 64816 w 821312"/>
                    <a:gd name="connsiteY1" fmla="*/ 0 h 123061"/>
                    <a:gd name="connsiteX2" fmla="*/ 821312 w 821312"/>
                    <a:gd name="connsiteY2" fmla="*/ 3175 h 123061"/>
                    <a:gd name="connsiteX3" fmla="*/ 708871 w 821312"/>
                    <a:gd name="connsiteY3" fmla="*/ 119886 h 123061"/>
                    <a:gd name="connsiteX4" fmla="*/ 0 w 821312"/>
                    <a:gd name="connsiteY4" fmla="*/ 123061 h 1230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23061">
                      <a:moveTo>
                        <a:pt x="0" y="123061"/>
                      </a:moveTo>
                      <a:lnTo>
                        <a:pt x="64816" y="0"/>
                      </a:lnTo>
                      <a:lnTo>
                        <a:pt x="821312" y="3175"/>
                      </a:lnTo>
                      <a:lnTo>
                        <a:pt x="708871" y="119886"/>
                      </a:lnTo>
                      <a:lnTo>
                        <a:pt x="0" y="123061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3B25C319-2990-5F44-9E6C-9230EDFA1D64}"/>
                </a:ext>
              </a:extLst>
            </p:cNvPr>
            <p:cNvGrpSpPr/>
            <p:nvPr userDrawn="1"/>
          </p:nvGrpSpPr>
          <p:grpSpPr>
            <a:xfrm>
              <a:off x="-13447" y="6149065"/>
              <a:ext cx="11072003" cy="219975"/>
              <a:chOff x="-13447" y="6149065"/>
              <a:chExt cx="11072003" cy="219975"/>
            </a:xfrm>
          </p:grpSpPr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05832D2A-E5F4-3147-B1F2-0F66239A3AFE}"/>
                  </a:ext>
                </a:extLst>
              </p:cNvPr>
              <p:cNvSpPr/>
              <p:nvPr userDrawn="1"/>
            </p:nvSpPr>
            <p:spPr>
              <a:xfrm>
                <a:off x="-13446" y="6149065"/>
                <a:ext cx="11021108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71BE06FC-1F60-7648-8CD3-2993C5D1A6AB}"/>
                  </a:ext>
                </a:extLst>
              </p:cNvPr>
              <p:cNvSpPr/>
              <p:nvPr userDrawn="1"/>
            </p:nvSpPr>
            <p:spPr>
              <a:xfrm>
                <a:off x="-13447" y="6252329"/>
                <a:ext cx="11072003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E7E466A8-3EE2-8347-9B9C-FE56409F0248}"/>
                </a:ext>
              </a:extLst>
            </p:cNvPr>
            <p:cNvGrpSpPr/>
            <p:nvPr userDrawn="1"/>
          </p:nvGrpSpPr>
          <p:grpSpPr>
            <a:xfrm>
              <a:off x="10905626" y="1984376"/>
              <a:ext cx="221104" cy="4371214"/>
              <a:chOff x="10905626" y="1984376"/>
              <a:chExt cx="221104" cy="4371214"/>
            </a:xfrm>
          </p:grpSpPr>
          <p:sp>
            <p:nvSpPr>
              <p:cNvPr id="51" name="Rectangle 50">
                <a:extLst>
                  <a:ext uri="{FF2B5EF4-FFF2-40B4-BE49-F238E27FC236}">
                    <a16:creationId xmlns:a16="http://schemas.microsoft.com/office/drawing/2014/main" id="{CB74D01D-AF7D-F546-9D97-25EB36CB7AB2}"/>
                  </a:ext>
                </a:extLst>
              </p:cNvPr>
              <p:cNvSpPr/>
              <p:nvPr userDrawn="1"/>
            </p:nvSpPr>
            <p:spPr>
              <a:xfrm rot="16200000">
                <a:off x="8837278" y="4052724"/>
                <a:ext cx="4254534" cy="117838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2" name="Rectangle 51">
                <a:extLst>
                  <a:ext uri="{FF2B5EF4-FFF2-40B4-BE49-F238E27FC236}">
                    <a16:creationId xmlns:a16="http://schemas.microsoft.com/office/drawing/2014/main" id="{FDE4EF2A-625F-DE47-B16E-96317A6EF3C6}"/>
                  </a:ext>
                </a:extLst>
              </p:cNvPr>
              <p:cNvSpPr/>
              <p:nvPr userDrawn="1"/>
            </p:nvSpPr>
            <p:spPr>
              <a:xfrm rot="16200000">
                <a:off x="8907603" y="4136464"/>
                <a:ext cx="4320415" cy="117838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399DEEC-FB65-6B40-99C0-B38B502ABA3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8" name="Chapter Title">
            <a:extLst>
              <a:ext uri="{FF2B5EF4-FFF2-40B4-BE49-F238E27FC236}">
                <a16:creationId xmlns:a16="http://schemas.microsoft.com/office/drawing/2014/main" id="{43C2F540-BC4F-4F4B-A13F-64EFF4C3B6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9" name="Pg">
            <a:extLst>
              <a:ext uri="{FF2B5EF4-FFF2-40B4-BE49-F238E27FC236}">
                <a16:creationId xmlns:a16="http://schemas.microsoft.com/office/drawing/2014/main" id="{A8099171-5756-5C41-97AC-1AFF8DDD9B63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CE4F8156-A223-6D49-A819-DDA0DC712A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26" name="Column 1">
            <a:extLst>
              <a:ext uri="{FF2B5EF4-FFF2-40B4-BE49-F238E27FC236}">
                <a16:creationId xmlns:a16="http://schemas.microsoft.com/office/drawing/2014/main" id="{D0E48077-2819-8A49-A05C-6703D2804F9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34" y="1736496"/>
            <a:ext cx="3201988" cy="43740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r>
              <a:rPr lang="en-US" b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/>
              <a:t>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  <a:p>
            <a:pPr lvl="0"/>
            <a:endParaRPr lang="en-US"/>
          </a:p>
        </p:txBody>
      </p:sp>
      <p:sp>
        <p:nvSpPr>
          <p:cNvPr id="30" name="Column 2">
            <a:extLst>
              <a:ext uri="{FF2B5EF4-FFF2-40B4-BE49-F238E27FC236}">
                <a16:creationId xmlns:a16="http://schemas.microsoft.com/office/drawing/2014/main" id="{92FCC806-979D-BB45-BD58-D2DFE35FAE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99078" y="1738591"/>
            <a:ext cx="6053560" cy="4168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lacini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, convallis a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ell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raesen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mass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convallis 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ellentesqu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sta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non nis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lementu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du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urbi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rcu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ccumsa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imperdi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et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at sem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71373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Slide_Full Bleed Image_BLUE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A girl with purple glasses purses her lips in concentration as she writes on a whiteboard with a large, black marker. Her classmate stands beside her.&#10;">
            <a:extLst>
              <a:ext uri="{FF2B5EF4-FFF2-40B4-BE49-F238E27FC236}">
                <a16:creationId xmlns:a16="http://schemas.microsoft.com/office/drawing/2014/main" id="{92362EEF-3BD7-9942-9F61-594A9380A71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33100"/>
            <a:ext cx="12192000" cy="68911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FC0B215F-CC30-5D4D-8CBD-8143A5F9B79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Display Date">
            <a:extLst>
              <a:ext uri="{FF2B5EF4-FFF2-40B4-BE49-F238E27FC236}">
                <a16:creationId xmlns:a16="http://schemas.microsoft.com/office/drawing/2014/main" id="{7F129D7E-B24B-D243-8677-D2E88D580E8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64801" y="5893085"/>
            <a:ext cx="1811481" cy="31153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1" name="Name &amp; Surname">
            <a:extLst>
              <a:ext uri="{FF2B5EF4-FFF2-40B4-BE49-F238E27FC236}">
                <a16:creationId xmlns:a16="http://schemas.microsoft.com/office/drawing/2014/main" id="{958D4D3F-3519-B04D-A7AB-B2717A8E5D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64801" y="5508815"/>
            <a:ext cx="2939823" cy="31153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59209D60-98AC-A347-9518-252F7F6486C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64801" y="4486707"/>
            <a:ext cx="2760436" cy="354013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813217E5-B63E-6E47-AB63-FCA8E4388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79316" y="3395900"/>
            <a:ext cx="2745922" cy="9403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5" name="Picture 14" descr="McGraw Hill red cube logo ">
            <a:extLst>
              <a:ext uri="{FF2B5EF4-FFF2-40B4-BE49-F238E27FC236}">
                <a16:creationId xmlns:a16="http://schemas.microsoft.com/office/drawing/2014/main" id="{55C15131-0BCC-E64D-88F8-AA080E056CD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750" y="18557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12526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8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rge Text_No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hapter Title">
            <a:extLst>
              <a:ext uri="{FF2B5EF4-FFF2-40B4-BE49-F238E27FC236}">
                <a16:creationId xmlns:a16="http://schemas.microsoft.com/office/drawing/2014/main" id="{6270A90D-500C-E74E-8060-95448D45EE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47549A0-DD2F-6C43-86AE-FF641D1700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Pg">
            <a:extLst>
              <a:ext uri="{FF2B5EF4-FFF2-40B4-BE49-F238E27FC236}">
                <a16:creationId xmlns:a16="http://schemas.microsoft.com/office/drawing/2014/main" id="{BF1DBC1E-7F69-B843-B19E-79A078D9478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AF4E5FD-8EB6-BE45-B712-8F1275A7C8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Column 1">
            <a:extLst>
              <a:ext uri="{FF2B5EF4-FFF2-40B4-BE49-F238E27FC236}">
                <a16:creationId xmlns:a16="http://schemas.microsoft.com/office/drawing/2014/main" id="{D98A9DBF-922D-A54A-AEA9-91C2162DC5F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34" y="1736496"/>
            <a:ext cx="3201988" cy="43740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r>
              <a:rPr lang="en-US" b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/>
              <a:t>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  <a:p>
            <a:pPr lvl="0"/>
            <a:endParaRPr lang="en-US"/>
          </a:p>
        </p:txBody>
      </p:sp>
      <p:sp>
        <p:nvSpPr>
          <p:cNvPr id="16" name="Column 2">
            <a:extLst>
              <a:ext uri="{FF2B5EF4-FFF2-40B4-BE49-F238E27FC236}">
                <a16:creationId xmlns:a16="http://schemas.microsoft.com/office/drawing/2014/main" id="{6F862A84-E061-8143-BCE7-4C9B9A9B5E5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99078" y="1738591"/>
            <a:ext cx="6053560" cy="4168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lacini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, convallis a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ell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raesen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mass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convallis 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ellentesqu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sta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non nis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lementu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du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urbi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rcu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ccumsa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imperdi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et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at sem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90689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3336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 – Call Out Box / Image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7D2DC8A1-421B-D94B-8FDF-9154C2780425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426FD28-B719-1F4E-8B2C-2180713E8E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089FB6B-4E4C-9945-8D76-D4163E41BB1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1" name="Chapter Title">
            <a:extLst>
              <a:ext uri="{FF2B5EF4-FFF2-40B4-BE49-F238E27FC236}">
                <a16:creationId xmlns:a16="http://schemas.microsoft.com/office/drawing/2014/main" id="{82355C5D-BD51-6E43-B9BF-49F809DD49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23F56041-7362-CC41-84C6-DF9F558C0E7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BED6375A-D484-F047-8EE7-94EE16B17B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3" name="Body Text">
            <a:extLst>
              <a:ext uri="{FF2B5EF4-FFF2-40B4-BE49-F238E27FC236}">
                <a16:creationId xmlns:a16="http://schemas.microsoft.com/office/drawing/2014/main" id="{FA312E64-CA61-0C49-AFA7-E9AED0BB74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D579BCA-890F-CE47-97E0-5990F85F808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079875" y="1749425"/>
            <a:ext cx="3924300" cy="40925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71062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Content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op Nav">
            <a:extLst>
              <a:ext uri="{FF2B5EF4-FFF2-40B4-BE49-F238E27FC236}">
                <a16:creationId xmlns:a16="http://schemas.microsoft.com/office/drawing/2014/main" id="{506D94AE-6408-924A-9474-D9BFD3F46B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op Nav">
            <a:extLst>
              <a:ext uri="{FF2B5EF4-FFF2-40B4-BE49-F238E27FC236}">
                <a16:creationId xmlns:a16="http://schemas.microsoft.com/office/drawing/2014/main" id="{587A5945-13FE-A54A-B1D9-FD863F5E65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728662"/>
            <a:ext cx="6096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Pg">
            <a:extLst>
              <a:ext uri="{FF2B5EF4-FFF2-40B4-BE49-F238E27FC236}">
                <a16:creationId xmlns:a16="http://schemas.microsoft.com/office/drawing/2014/main" id="{4D0F0969-6A77-E9ED-7831-7B6D2742FDF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Column 1">
            <a:extLst>
              <a:ext uri="{FF2B5EF4-FFF2-40B4-BE49-F238E27FC236}">
                <a16:creationId xmlns:a16="http://schemas.microsoft.com/office/drawing/2014/main" id="{2F5662AF-7710-BD12-B3C3-E68E6BC6340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756529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Title 2">
            <a:extLst>
              <a:ext uri="{FF2B5EF4-FFF2-40B4-BE49-F238E27FC236}">
                <a16:creationId xmlns:a16="http://schemas.microsoft.com/office/drawing/2014/main" id="{56660D89-6935-0841-BD0F-E8303DE34F4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56529" y="1689044"/>
            <a:ext cx="2540607" cy="52322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Title 24pt Bold</a:t>
            </a:r>
          </a:p>
        </p:txBody>
      </p:sp>
      <p:sp>
        <p:nvSpPr>
          <p:cNvPr id="4" name="Column 1">
            <a:extLst>
              <a:ext uri="{FF2B5EF4-FFF2-40B4-BE49-F238E27FC236}">
                <a16:creationId xmlns:a16="http://schemas.microsoft.com/office/drawing/2014/main" id="{15B2D6D7-92FA-A341-4B7F-6F369242B26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69051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6CFA8719-8D5A-0F48-BF03-43422A7A51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12968A59-ECEF-5743-B06E-E7F185B3A6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A3BA688-9438-8D4E-8584-9C8619327D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17769145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-Column Text Slide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490707B-6C6C-5E44-87D8-521DBCC7E21C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762E6F4-ACEF-4946-9F8B-3E94398BCD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3" name="Chapter Title">
            <a:extLst>
              <a:ext uri="{FF2B5EF4-FFF2-40B4-BE49-F238E27FC236}">
                <a16:creationId xmlns:a16="http://schemas.microsoft.com/office/drawing/2014/main" id="{F9E60D72-3177-4045-A466-D4B05B19B0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0" name="Pg">
            <a:extLst>
              <a:ext uri="{FF2B5EF4-FFF2-40B4-BE49-F238E27FC236}">
                <a16:creationId xmlns:a16="http://schemas.microsoft.com/office/drawing/2014/main" id="{E1F1980C-9889-C848-8872-29975F666E04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1544E1B1-08F2-4C4E-92C9-F500EEA591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99166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40" name="01">
            <a:extLst>
              <a:ext uri="{FF2B5EF4-FFF2-40B4-BE49-F238E27FC236}">
                <a16:creationId xmlns:a16="http://schemas.microsoft.com/office/drawing/2014/main" id="{6F3CD7EC-291A-CB41-AC04-9DA32ED4912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48137" y="2158500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58" name="Caption 1">
            <a:extLst>
              <a:ext uri="{FF2B5EF4-FFF2-40B4-BE49-F238E27FC236}">
                <a16:creationId xmlns:a16="http://schemas.microsoft.com/office/drawing/2014/main" id="{C49CF928-74D9-7D4A-9C22-E2E436B914D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6676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3" name="Column 1">
            <a:extLst>
              <a:ext uri="{FF2B5EF4-FFF2-40B4-BE49-F238E27FC236}">
                <a16:creationId xmlns:a16="http://schemas.microsoft.com/office/drawing/2014/main" id="{6587622A-E7E2-6B44-B626-9CC87A6C6DC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8255" y="4203375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43" name="02">
            <a:extLst>
              <a:ext uri="{FF2B5EF4-FFF2-40B4-BE49-F238E27FC236}">
                <a16:creationId xmlns:a16="http://schemas.microsoft.com/office/drawing/2014/main" id="{DDE4B5E5-63E4-6D4D-B63F-A8AE99EB850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47170" y="2158738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59" name="Caption 2">
            <a:extLst>
              <a:ext uri="{FF2B5EF4-FFF2-40B4-BE49-F238E27FC236}">
                <a16:creationId xmlns:a16="http://schemas.microsoft.com/office/drawing/2014/main" id="{D6639B44-DFB3-1048-9F98-610715182EE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963378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4" name="Column 2">
            <a:extLst>
              <a:ext uri="{FF2B5EF4-FFF2-40B4-BE49-F238E27FC236}">
                <a16:creationId xmlns:a16="http://schemas.microsoft.com/office/drawing/2014/main" id="{055A89E4-9DE0-AE4F-8C40-E086AFB8D51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17288" y="4203613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46" name="03">
            <a:extLst>
              <a:ext uri="{FF2B5EF4-FFF2-40B4-BE49-F238E27FC236}">
                <a16:creationId xmlns:a16="http://schemas.microsoft.com/office/drawing/2014/main" id="{C62E8335-4BFD-FA41-B11F-1D2EEEB0491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443785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60" name="Caption 3">
            <a:extLst>
              <a:ext uri="{FF2B5EF4-FFF2-40B4-BE49-F238E27FC236}">
                <a16:creationId xmlns:a16="http://schemas.microsoft.com/office/drawing/2014/main" id="{B0534917-CDE1-0641-BA42-A95A1C4C355C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5370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5" name="Column 3">
            <a:extLst>
              <a:ext uri="{FF2B5EF4-FFF2-40B4-BE49-F238E27FC236}">
                <a16:creationId xmlns:a16="http://schemas.microsoft.com/office/drawing/2014/main" id="{D357D3AF-CA84-204B-A109-31A760A1C43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013903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49" name="04">
            <a:extLst>
              <a:ext uri="{FF2B5EF4-FFF2-40B4-BE49-F238E27FC236}">
                <a16:creationId xmlns:a16="http://schemas.microsoft.com/office/drawing/2014/main" id="{06027FA5-B9A8-984E-B10A-886620508A6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39673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61" name="Caption 4">
            <a:extLst>
              <a:ext uri="{FF2B5EF4-FFF2-40B4-BE49-F238E27FC236}">
                <a16:creationId xmlns:a16="http://schemas.microsoft.com/office/drawing/2014/main" id="{66947F2B-8897-954A-9AD2-8FCD3367A57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44521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6" name="Column 4">
            <a:extLst>
              <a:ext uri="{FF2B5EF4-FFF2-40B4-BE49-F238E27FC236}">
                <a16:creationId xmlns:a16="http://schemas.microsoft.com/office/drawing/2014/main" id="{08B9E6CA-F2C9-0E4B-AD40-C7C2B61346B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209791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52" name="05">
            <a:extLst>
              <a:ext uri="{FF2B5EF4-FFF2-40B4-BE49-F238E27FC236}">
                <a16:creationId xmlns:a16="http://schemas.microsoft.com/office/drawing/2014/main" id="{D9009439-37E9-A14D-8A5B-6031C0EB087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0835561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62" name="Caption 5">
            <a:extLst>
              <a:ext uri="{FF2B5EF4-FFF2-40B4-BE49-F238E27FC236}">
                <a16:creationId xmlns:a16="http://schemas.microsoft.com/office/drawing/2014/main" id="{D7AC52E8-4D8C-8D4B-AB02-9A2C26B23E5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543467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7" name="Column 5">
            <a:extLst>
              <a:ext uri="{FF2B5EF4-FFF2-40B4-BE49-F238E27FC236}">
                <a16:creationId xmlns:a16="http://schemas.microsoft.com/office/drawing/2014/main" id="{3602C7B6-9754-724B-B0BB-AE3CB5B565C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405679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4684079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-Column Text Slide_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490707B-6C6C-5E44-87D8-521DBCC7E21C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762E6F4-ACEF-4946-9F8B-3E94398BCD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3" name="Chapter Title">
            <a:extLst>
              <a:ext uri="{FF2B5EF4-FFF2-40B4-BE49-F238E27FC236}">
                <a16:creationId xmlns:a16="http://schemas.microsoft.com/office/drawing/2014/main" id="{F9E60D72-3177-4045-A466-D4B05B19B0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0" name="Pg">
            <a:extLst>
              <a:ext uri="{FF2B5EF4-FFF2-40B4-BE49-F238E27FC236}">
                <a16:creationId xmlns:a16="http://schemas.microsoft.com/office/drawing/2014/main" id="{E1F1980C-9889-C848-8872-29975F666E04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1544E1B1-08F2-4C4E-92C9-F500EEA591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99166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40" name="01">
            <a:extLst>
              <a:ext uri="{FF2B5EF4-FFF2-40B4-BE49-F238E27FC236}">
                <a16:creationId xmlns:a16="http://schemas.microsoft.com/office/drawing/2014/main" id="{6F3CD7EC-291A-CB41-AC04-9DA32ED4912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48137" y="2158500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58" name="Caption 1">
            <a:extLst>
              <a:ext uri="{FF2B5EF4-FFF2-40B4-BE49-F238E27FC236}">
                <a16:creationId xmlns:a16="http://schemas.microsoft.com/office/drawing/2014/main" id="{C49CF928-74D9-7D4A-9C22-E2E436B914D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6676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3" name="Column 1">
            <a:extLst>
              <a:ext uri="{FF2B5EF4-FFF2-40B4-BE49-F238E27FC236}">
                <a16:creationId xmlns:a16="http://schemas.microsoft.com/office/drawing/2014/main" id="{6587622A-E7E2-6B44-B626-9CC87A6C6DC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8255" y="4203375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43" name="02">
            <a:extLst>
              <a:ext uri="{FF2B5EF4-FFF2-40B4-BE49-F238E27FC236}">
                <a16:creationId xmlns:a16="http://schemas.microsoft.com/office/drawing/2014/main" id="{DDE4B5E5-63E4-6D4D-B63F-A8AE99EB850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47170" y="2158738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59" name="Caption 2">
            <a:extLst>
              <a:ext uri="{FF2B5EF4-FFF2-40B4-BE49-F238E27FC236}">
                <a16:creationId xmlns:a16="http://schemas.microsoft.com/office/drawing/2014/main" id="{D6639B44-DFB3-1048-9F98-610715182EE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963378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4" name="Column 2">
            <a:extLst>
              <a:ext uri="{FF2B5EF4-FFF2-40B4-BE49-F238E27FC236}">
                <a16:creationId xmlns:a16="http://schemas.microsoft.com/office/drawing/2014/main" id="{055A89E4-9DE0-AE4F-8C40-E086AFB8D51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17288" y="4203613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46" name="03">
            <a:extLst>
              <a:ext uri="{FF2B5EF4-FFF2-40B4-BE49-F238E27FC236}">
                <a16:creationId xmlns:a16="http://schemas.microsoft.com/office/drawing/2014/main" id="{C62E8335-4BFD-FA41-B11F-1D2EEEB0491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443785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60" name="Caption 3">
            <a:extLst>
              <a:ext uri="{FF2B5EF4-FFF2-40B4-BE49-F238E27FC236}">
                <a16:creationId xmlns:a16="http://schemas.microsoft.com/office/drawing/2014/main" id="{B0534917-CDE1-0641-BA42-A95A1C4C355C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5370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5" name="Column 3">
            <a:extLst>
              <a:ext uri="{FF2B5EF4-FFF2-40B4-BE49-F238E27FC236}">
                <a16:creationId xmlns:a16="http://schemas.microsoft.com/office/drawing/2014/main" id="{D357D3AF-CA84-204B-A109-31A760A1C43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013903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49" name="04">
            <a:extLst>
              <a:ext uri="{FF2B5EF4-FFF2-40B4-BE49-F238E27FC236}">
                <a16:creationId xmlns:a16="http://schemas.microsoft.com/office/drawing/2014/main" id="{06027FA5-B9A8-984E-B10A-886620508A6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39673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61" name="Caption 4">
            <a:extLst>
              <a:ext uri="{FF2B5EF4-FFF2-40B4-BE49-F238E27FC236}">
                <a16:creationId xmlns:a16="http://schemas.microsoft.com/office/drawing/2014/main" id="{66947F2B-8897-954A-9AD2-8FCD3367A57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44521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6" name="Column 4">
            <a:extLst>
              <a:ext uri="{FF2B5EF4-FFF2-40B4-BE49-F238E27FC236}">
                <a16:creationId xmlns:a16="http://schemas.microsoft.com/office/drawing/2014/main" id="{08B9E6CA-F2C9-0E4B-AD40-C7C2B61346B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209791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52" name="05">
            <a:extLst>
              <a:ext uri="{FF2B5EF4-FFF2-40B4-BE49-F238E27FC236}">
                <a16:creationId xmlns:a16="http://schemas.microsoft.com/office/drawing/2014/main" id="{D9009439-37E9-A14D-8A5B-6031C0EB087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0835561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62" name="Caption 5">
            <a:extLst>
              <a:ext uri="{FF2B5EF4-FFF2-40B4-BE49-F238E27FC236}">
                <a16:creationId xmlns:a16="http://schemas.microsoft.com/office/drawing/2014/main" id="{D7AC52E8-4D8C-8D4B-AB02-9A2C26B23E5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543467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7" name="Column 5">
            <a:extLst>
              <a:ext uri="{FF2B5EF4-FFF2-40B4-BE49-F238E27FC236}">
                <a16:creationId xmlns:a16="http://schemas.microsoft.com/office/drawing/2014/main" id="{3602C7B6-9754-724B-B0BB-AE3CB5B565C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405679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6366192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-Column Text Slide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490707B-6C6C-5E44-87D8-521DBCC7E21C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90D2407-3AEE-1846-8778-AE4EE683A8D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33" name="Chapter Title">
            <a:extLst>
              <a:ext uri="{FF2B5EF4-FFF2-40B4-BE49-F238E27FC236}">
                <a16:creationId xmlns:a16="http://schemas.microsoft.com/office/drawing/2014/main" id="{7D24EF4D-8CFF-2241-8291-933EFE6292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8" name="Pg">
            <a:extLst>
              <a:ext uri="{FF2B5EF4-FFF2-40B4-BE49-F238E27FC236}">
                <a16:creationId xmlns:a16="http://schemas.microsoft.com/office/drawing/2014/main" id="{2D9A1D09-DB20-6D4D-83FD-330BCF62809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EE40A5D0-FCE3-9442-99D4-4FFF20BCBC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99166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4" name="01">
            <a:extLst>
              <a:ext uri="{FF2B5EF4-FFF2-40B4-BE49-F238E27FC236}">
                <a16:creationId xmlns:a16="http://schemas.microsoft.com/office/drawing/2014/main" id="{BAD73B57-8C4A-D743-AACF-484F43CC0BA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48137" y="2158500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28" name="Caption 1">
            <a:extLst>
              <a:ext uri="{FF2B5EF4-FFF2-40B4-BE49-F238E27FC236}">
                <a16:creationId xmlns:a16="http://schemas.microsoft.com/office/drawing/2014/main" id="{2B469334-6E72-5D40-AA8E-B737B44651B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6676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3" name="Column 1">
            <a:extLst>
              <a:ext uri="{FF2B5EF4-FFF2-40B4-BE49-F238E27FC236}">
                <a16:creationId xmlns:a16="http://schemas.microsoft.com/office/drawing/2014/main" id="{42B229DB-D4B9-544F-8266-3342343568F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8255" y="4203375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17" name="02">
            <a:extLst>
              <a:ext uri="{FF2B5EF4-FFF2-40B4-BE49-F238E27FC236}">
                <a16:creationId xmlns:a16="http://schemas.microsoft.com/office/drawing/2014/main" id="{F469656D-C96E-9A47-B8C1-D64C8FCF777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47170" y="2158738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29" name="Caption 2">
            <a:extLst>
              <a:ext uri="{FF2B5EF4-FFF2-40B4-BE49-F238E27FC236}">
                <a16:creationId xmlns:a16="http://schemas.microsoft.com/office/drawing/2014/main" id="{28383D3C-9789-A842-828F-3B5C13382A9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963378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6" name="Column 2">
            <a:extLst>
              <a:ext uri="{FF2B5EF4-FFF2-40B4-BE49-F238E27FC236}">
                <a16:creationId xmlns:a16="http://schemas.microsoft.com/office/drawing/2014/main" id="{DFE1817B-BA1F-C949-8EA0-6C100525960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17288" y="4203613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0" name="03">
            <a:extLst>
              <a:ext uri="{FF2B5EF4-FFF2-40B4-BE49-F238E27FC236}">
                <a16:creationId xmlns:a16="http://schemas.microsoft.com/office/drawing/2014/main" id="{FA4866C5-96CB-A844-A442-C93A18B11AE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443785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30" name="Caption 3">
            <a:extLst>
              <a:ext uri="{FF2B5EF4-FFF2-40B4-BE49-F238E27FC236}">
                <a16:creationId xmlns:a16="http://schemas.microsoft.com/office/drawing/2014/main" id="{7BA46A7F-694F-8447-AAD3-ED50BF4275AA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5370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9" name="Column 3">
            <a:extLst>
              <a:ext uri="{FF2B5EF4-FFF2-40B4-BE49-F238E27FC236}">
                <a16:creationId xmlns:a16="http://schemas.microsoft.com/office/drawing/2014/main" id="{A2E9B9FF-BCCB-2247-9494-04E868F5AF0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013903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3" name="04">
            <a:extLst>
              <a:ext uri="{FF2B5EF4-FFF2-40B4-BE49-F238E27FC236}">
                <a16:creationId xmlns:a16="http://schemas.microsoft.com/office/drawing/2014/main" id="{FFA14467-DA2F-1347-A181-87C0FDFC047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39673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31" name="Caption 4">
            <a:extLst>
              <a:ext uri="{FF2B5EF4-FFF2-40B4-BE49-F238E27FC236}">
                <a16:creationId xmlns:a16="http://schemas.microsoft.com/office/drawing/2014/main" id="{CD36F8F1-96E3-E648-926C-EFEE29F6CFA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44521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2" name="Column 4">
            <a:extLst>
              <a:ext uri="{FF2B5EF4-FFF2-40B4-BE49-F238E27FC236}">
                <a16:creationId xmlns:a16="http://schemas.microsoft.com/office/drawing/2014/main" id="{B161DB36-BA0A-6E48-A4BC-33D1C6F0B3E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209791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6" name="05">
            <a:extLst>
              <a:ext uri="{FF2B5EF4-FFF2-40B4-BE49-F238E27FC236}">
                <a16:creationId xmlns:a16="http://schemas.microsoft.com/office/drawing/2014/main" id="{4F8FF71C-BC5B-B24A-944F-6C70373088E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0835561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32" name="Caption 5">
            <a:extLst>
              <a:ext uri="{FF2B5EF4-FFF2-40B4-BE49-F238E27FC236}">
                <a16:creationId xmlns:a16="http://schemas.microsoft.com/office/drawing/2014/main" id="{8389548D-A6FA-B449-8592-28D45618BBA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543467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5" name="Column 5">
            <a:extLst>
              <a:ext uri="{FF2B5EF4-FFF2-40B4-BE49-F238E27FC236}">
                <a16:creationId xmlns:a16="http://schemas.microsoft.com/office/drawing/2014/main" id="{BBFD7C98-2BE7-7E44-BCED-09D82235061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405679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1404672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-Column Conten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A2699079-097B-CA44-BDE4-664F85187F4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40954"/>
            <a:ext cx="12192000" cy="339568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423BF18-190B-0B45-86C7-8E7FD8D5BA9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46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4" name="Chapter Title">
            <a:extLst>
              <a:ext uri="{FF2B5EF4-FFF2-40B4-BE49-F238E27FC236}">
                <a16:creationId xmlns:a16="http://schemas.microsoft.com/office/drawing/2014/main" id="{4C3A16F4-5E80-954F-9F5D-C17AAF09B8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68B34E99-AE30-4C49-ABBE-F3D759A453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53" name="01">
            <a:extLst>
              <a:ext uri="{FF2B5EF4-FFF2-40B4-BE49-F238E27FC236}">
                <a16:creationId xmlns:a16="http://schemas.microsoft.com/office/drawing/2014/main" id="{656B9FAF-84C0-7E43-8B08-53730DCF7EF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379440" y="1946465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59" name="Caption 1">
            <a:extLst>
              <a:ext uri="{FF2B5EF4-FFF2-40B4-BE49-F238E27FC236}">
                <a16:creationId xmlns:a16="http://schemas.microsoft.com/office/drawing/2014/main" id="{9CF9316A-A272-CB44-96B8-3E066822DFC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6676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8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5" name="Subtitle 1">
            <a:extLst>
              <a:ext uri="{FF2B5EF4-FFF2-40B4-BE49-F238E27FC236}">
                <a16:creationId xmlns:a16="http://schemas.microsoft.com/office/drawing/2014/main" id="{36FF7C71-04B0-1B44-BAC9-283FE6509B04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84532" y="4388629"/>
            <a:ext cx="1858962" cy="3794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" name="Column 1">
            <a:extLst>
              <a:ext uri="{FF2B5EF4-FFF2-40B4-BE49-F238E27FC236}">
                <a16:creationId xmlns:a16="http://schemas.microsoft.com/office/drawing/2014/main" id="{D95B1A93-7377-6B4F-AB4C-85A0ADE14562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16113" y="4957614"/>
            <a:ext cx="2277952" cy="1666875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buFont typeface="Arial" panose="020B0604020202020204" pitchFamily="34" charset="0"/>
              <a:buChar char="•"/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dolore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54" name="02">
            <a:extLst>
              <a:ext uri="{FF2B5EF4-FFF2-40B4-BE49-F238E27FC236}">
                <a16:creationId xmlns:a16="http://schemas.microsoft.com/office/drawing/2014/main" id="{42B5B42B-7BA8-8749-A68B-767FDE1DBED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146882" y="1946703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61" name="Caption 2">
            <a:extLst>
              <a:ext uri="{FF2B5EF4-FFF2-40B4-BE49-F238E27FC236}">
                <a16:creationId xmlns:a16="http://schemas.microsoft.com/office/drawing/2014/main" id="{AB11E701-A589-1142-AAC4-7F98249E39B1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673065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AC7180CB-D6CC-884D-A1D6-4238C52B1D17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507143" y="4388629"/>
            <a:ext cx="1858962" cy="3794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1" name="Column 2">
            <a:extLst>
              <a:ext uri="{FF2B5EF4-FFF2-40B4-BE49-F238E27FC236}">
                <a16:creationId xmlns:a16="http://schemas.microsoft.com/office/drawing/2014/main" id="{DED1FE80-97ED-A44A-AAC7-23445FA9373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538724" y="4957614"/>
            <a:ext cx="2277952" cy="1666875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buFont typeface="Arial" panose="020B0604020202020204" pitchFamily="34" charset="0"/>
              <a:buChar char="•"/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dolore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55" name="03">
            <a:extLst>
              <a:ext uri="{FF2B5EF4-FFF2-40B4-BE49-F238E27FC236}">
                <a16:creationId xmlns:a16="http://schemas.microsoft.com/office/drawing/2014/main" id="{8192EB0B-9651-B544-BDAC-EE091C49C6F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993566" y="1940697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62" name="Caption 3">
            <a:extLst>
              <a:ext uri="{FF2B5EF4-FFF2-40B4-BE49-F238E27FC236}">
                <a16:creationId xmlns:a16="http://schemas.microsoft.com/office/drawing/2014/main" id="{284AA87E-52EF-2045-830C-F4AAFF5F87A3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462044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32" name="Subtitle 3">
            <a:extLst>
              <a:ext uri="{FF2B5EF4-FFF2-40B4-BE49-F238E27FC236}">
                <a16:creationId xmlns:a16="http://schemas.microsoft.com/office/drawing/2014/main" id="{94D3E8CD-91A0-F547-BA17-B7867B89A681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305088" y="4391924"/>
            <a:ext cx="1858962" cy="3794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3" name="Column 3">
            <a:extLst>
              <a:ext uri="{FF2B5EF4-FFF2-40B4-BE49-F238E27FC236}">
                <a16:creationId xmlns:a16="http://schemas.microsoft.com/office/drawing/2014/main" id="{39B3353B-2777-5447-89A8-8604255C061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336669" y="4960909"/>
            <a:ext cx="2277952" cy="1666875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buFont typeface="Arial" panose="020B0604020202020204" pitchFamily="34" charset="0"/>
              <a:buChar char="•"/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</a:t>
            </a:r>
            <a:r>
              <a:rPr lang="en-US" err="1"/>
              <a:t>consectetuer</a:t>
            </a:r>
            <a:r>
              <a:rPr lang="en-US"/>
              <a:t> adipiscing dolore.</a:t>
            </a:r>
          </a:p>
          <a:p>
            <a:pPr lvl="0"/>
            <a:r>
              <a:rPr lang="en-US"/>
              <a:t>Lorem ipsum dolor sit amet, </a:t>
            </a:r>
            <a:r>
              <a:rPr lang="en-US" err="1"/>
              <a:t>consectetuer</a:t>
            </a:r>
            <a:r>
              <a:rPr lang="en-US"/>
              <a:t> adipiscing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56" name="04">
            <a:extLst>
              <a:ext uri="{FF2B5EF4-FFF2-40B4-BE49-F238E27FC236}">
                <a16:creationId xmlns:a16="http://schemas.microsoft.com/office/drawing/2014/main" id="{6CFC2436-7424-CA43-969D-9AB5100DA38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822026" y="1940697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63" name="Caption 4">
            <a:extLst>
              <a:ext uri="{FF2B5EF4-FFF2-40B4-BE49-F238E27FC236}">
                <a16:creationId xmlns:a16="http://schemas.microsoft.com/office/drawing/2014/main" id="{C758B12F-C44F-274A-A913-BCB1409A8DD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257741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37" name="Subtitle 4">
            <a:extLst>
              <a:ext uri="{FF2B5EF4-FFF2-40B4-BE49-F238E27FC236}">
                <a16:creationId xmlns:a16="http://schemas.microsoft.com/office/drawing/2014/main" id="{54CCEB4F-7779-5E4B-B18D-AA167974CF58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153963" y="4388597"/>
            <a:ext cx="2044858" cy="3794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8" name="Column 4">
            <a:extLst>
              <a:ext uri="{FF2B5EF4-FFF2-40B4-BE49-F238E27FC236}">
                <a16:creationId xmlns:a16="http://schemas.microsoft.com/office/drawing/2014/main" id="{DDA404CD-C496-1F4F-B260-2970B74DBAD4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156413" y="4957582"/>
            <a:ext cx="2277952" cy="1666875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buFont typeface="Arial" panose="020B0604020202020204" pitchFamily="34" charset="0"/>
              <a:buChar char="•"/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</a:t>
            </a:r>
            <a:r>
              <a:rPr lang="en-US" err="1"/>
              <a:t>consectetuer</a:t>
            </a:r>
            <a:r>
              <a:rPr lang="en-US"/>
              <a:t> adipiscing dolore.</a:t>
            </a:r>
          </a:p>
          <a:p>
            <a:pPr lvl="0"/>
            <a:r>
              <a:rPr lang="en-US"/>
              <a:t>Lorem ipsum dolor sit amet, </a:t>
            </a:r>
            <a:r>
              <a:rPr lang="en-US" err="1"/>
              <a:t>consectetuer</a:t>
            </a:r>
            <a:r>
              <a:rPr lang="en-US"/>
              <a:t> adipiscing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5" name="Pg">
            <a:extLst>
              <a:ext uri="{FF2B5EF4-FFF2-40B4-BE49-F238E27FC236}">
                <a16:creationId xmlns:a16="http://schemas.microsoft.com/office/drawing/2014/main" id="{26155597-F0AF-764C-8816-67A652B266AC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870376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-Column Text Slide_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op Nav">
            <a:extLst>
              <a:ext uri="{FF2B5EF4-FFF2-40B4-BE49-F238E27FC236}">
                <a16:creationId xmlns:a16="http://schemas.microsoft.com/office/drawing/2014/main" id="{63C8FBF6-E07B-8749-9CE6-AF0D6291DEB0}"/>
              </a:ext>
            </a:extLst>
          </p:cNvPr>
          <p:cNvSpPr/>
          <p:nvPr userDrawn="1"/>
        </p:nvSpPr>
        <p:spPr>
          <a:xfrm>
            <a:off x="0" y="728664"/>
            <a:ext cx="12191999" cy="6129336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F60BAF2-64CC-3A4E-B752-82EE147FA79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7" name="Chapter Title">
            <a:extLst>
              <a:ext uri="{FF2B5EF4-FFF2-40B4-BE49-F238E27FC236}">
                <a16:creationId xmlns:a16="http://schemas.microsoft.com/office/drawing/2014/main" id="{01EF1194-E7BA-8641-B7C3-306A8956FD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5" name="Pg">
            <a:extLst>
              <a:ext uri="{FF2B5EF4-FFF2-40B4-BE49-F238E27FC236}">
                <a16:creationId xmlns:a16="http://schemas.microsoft.com/office/drawing/2014/main" id="{844B4F85-BEB9-7D42-92C7-7EC21587668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BEE164E9-B94E-9149-9694-5422386548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99166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4" name="01">
            <a:extLst>
              <a:ext uri="{FF2B5EF4-FFF2-40B4-BE49-F238E27FC236}">
                <a16:creationId xmlns:a16="http://schemas.microsoft.com/office/drawing/2014/main" id="{95B3BA13-C080-9848-9EE1-B9E9CA19F93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48137" y="2158500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28" name="Caption 1">
            <a:extLst>
              <a:ext uri="{FF2B5EF4-FFF2-40B4-BE49-F238E27FC236}">
                <a16:creationId xmlns:a16="http://schemas.microsoft.com/office/drawing/2014/main" id="{AF070C41-6C94-3A4A-978A-F440F161765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6676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3" name="Column 1">
            <a:extLst>
              <a:ext uri="{FF2B5EF4-FFF2-40B4-BE49-F238E27FC236}">
                <a16:creationId xmlns:a16="http://schemas.microsoft.com/office/drawing/2014/main" id="{03D79C4C-8F32-6B4B-9FFB-9C9CFDBBDF2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8255" y="4203375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17" name="02">
            <a:extLst>
              <a:ext uri="{FF2B5EF4-FFF2-40B4-BE49-F238E27FC236}">
                <a16:creationId xmlns:a16="http://schemas.microsoft.com/office/drawing/2014/main" id="{CA6ABE95-681E-C34A-B8B6-569502D902E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47170" y="2158738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29" name="Caption 2">
            <a:extLst>
              <a:ext uri="{FF2B5EF4-FFF2-40B4-BE49-F238E27FC236}">
                <a16:creationId xmlns:a16="http://schemas.microsoft.com/office/drawing/2014/main" id="{23600F69-272F-C24D-B914-C33E8706485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963378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6" name="Column 2">
            <a:extLst>
              <a:ext uri="{FF2B5EF4-FFF2-40B4-BE49-F238E27FC236}">
                <a16:creationId xmlns:a16="http://schemas.microsoft.com/office/drawing/2014/main" id="{88C5C30B-1103-594F-A8AA-BF1A6908C9D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17288" y="4203613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0" name="03">
            <a:extLst>
              <a:ext uri="{FF2B5EF4-FFF2-40B4-BE49-F238E27FC236}">
                <a16:creationId xmlns:a16="http://schemas.microsoft.com/office/drawing/2014/main" id="{E3A9735A-C485-864B-B59D-5F45DEADA83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443785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30" name="Caption 3">
            <a:extLst>
              <a:ext uri="{FF2B5EF4-FFF2-40B4-BE49-F238E27FC236}">
                <a16:creationId xmlns:a16="http://schemas.microsoft.com/office/drawing/2014/main" id="{373489FE-C2DA-EF46-949E-CA23CB51A547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5370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9" name="Column 3">
            <a:extLst>
              <a:ext uri="{FF2B5EF4-FFF2-40B4-BE49-F238E27FC236}">
                <a16:creationId xmlns:a16="http://schemas.microsoft.com/office/drawing/2014/main" id="{4FF6A20C-BEDE-1547-803D-D2BD830DE10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013903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3" name="04">
            <a:extLst>
              <a:ext uri="{FF2B5EF4-FFF2-40B4-BE49-F238E27FC236}">
                <a16:creationId xmlns:a16="http://schemas.microsoft.com/office/drawing/2014/main" id="{ADC59BD8-C0C2-684A-8085-EBDE4B767D9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39673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31" name="Caption 4">
            <a:extLst>
              <a:ext uri="{FF2B5EF4-FFF2-40B4-BE49-F238E27FC236}">
                <a16:creationId xmlns:a16="http://schemas.microsoft.com/office/drawing/2014/main" id="{7C02D760-3953-CF49-A639-E32179CD656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44521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2" name="Column 4">
            <a:extLst>
              <a:ext uri="{FF2B5EF4-FFF2-40B4-BE49-F238E27FC236}">
                <a16:creationId xmlns:a16="http://schemas.microsoft.com/office/drawing/2014/main" id="{F4EA188A-7D90-7B4B-A837-4262F19D75D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209791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6" name="05">
            <a:extLst>
              <a:ext uri="{FF2B5EF4-FFF2-40B4-BE49-F238E27FC236}">
                <a16:creationId xmlns:a16="http://schemas.microsoft.com/office/drawing/2014/main" id="{2EFF1D36-CE17-1949-929C-138DF560583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0835561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32" name="Caption 5">
            <a:extLst>
              <a:ext uri="{FF2B5EF4-FFF2-40B4-BE49-F238E27FC236}">
                <a16:creationId xmlns:a16="http://schemas.microsoft.com/office/drawing/2014/main" id="{A0B65ACF-BEB4-5149-816B-A56877ED8C63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543467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5" name="Column 5">
            <a:extLst>
              <a:ext uri="{FF2B5EF4-FFF2-40B4-BE49-F238E27FC236}">
                <a16:creationId xmlns:a16="http://schemas.microsoft.com/office/drawing/2014/main" id="{D17CA303-7361-2D47-BB94-C5EFD44B71B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405679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1287942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Column Conten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A2699079-097B-CA44-BDE4-664F85187F4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40954"/>
            <a:ext cx="12192000" cy="99577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2EA4367-3689-7945-B203-0D5FD9A1E7A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4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2" name="Chapter Title">
            <a:extLst>
              <a:ext uri="{FF2B5EF4-FFF2-40B4-BE49-F238E27FC236}">
                <a16:creationId xmlns:a16="http://schemas.microsoft.com/office/drawing/2014/main" id="{50B2CB3F-B6DB-5040-BDF4-7D5177457F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9" name="Pg">
            <a:extLst>
              <a:ext uri="{FF2B5EF4-FFF2-40B4-BE49-F238E27FC236}">
                <a16:creationId xmlns:a16="http://schemas.microsoft.com/office/drawing/2014/main" id="{3FA4234B-1496-4443-A1CD-3B9779E171F4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5B9C971-A59C-E24F-9F13-F9E4BED677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5" name="Title Line 1">
            <a:extLst>
              <a:ext uri="{FF2B5EF4-FFF2-40B4-BE49-F238E27FC236}">
                <a16:creationId xmlns:a16="http://schemas.microsoft.com/office/drawing/2014/main" id="{460B94BE-2F57-214D-AA8B-96BF52A1AB1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985924" y="1995932"/>
            <a:ext cx="1892300" cy="31273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7" name="Column 1">
            <a:extLst>
              <a:ext uri="{FF2B5EF4-FFF2-40B4-BE49-F238E27FC236}">
                <a16:creationId xmlns:a16="http://schemas.microsoft.com/office/drawing/2014/main" id="{93049BCE-22FC-114B-8D98-3B5794B6075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771091" y="2673159"/>
            <a:ext cx="2319787" cy="3177252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lvl="0"/>
            <a:endParaRPr lang="en-US"/>
          </a:p>
        </p:txBody>
      </p:sp>
      <p:sp>
        <p:nvSpPr>
          <p:cNvPr id="16" name="Title Line 2">
            <a:extLst>
              <a:ext uri="{FF2B5EF4-FFF2-40B4-BE49-F238E27FC236}">
                <a16:creationId xmlns:a16="http://schemas.microsoft.com/office/drawing/2014/main" id="{E31E5F7E-95A4-D243-9357-C2B9239A652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149850" y="1993226"/>
            <a:ext cx="1892300" cy="31273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23" name="Column 2">
            <a:extLst>
              <a:ext uri="{FF2B5EF4-FFF2-40B4-BE49-F238E27FC236}">
                <a16:creationId xmlns:a16="http://schemas.microsoft.com/office/drawing/2014/main" id="{CFA1A9FC-B5F4-4B4F-87A1-973B4BF19A4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36106" y="2673159"/>
            <a:ext cx="2319787" cy="3177252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lvl="0"/>
            <a:endParaRPr lang="en-US"/>
          </a:p>
        </p:txBody>
      </p:sp>
      <p:sp>
        <p:nvSpPr>
          <p:cNvPr id="17" name="Title Line 3">
            <a:extLst>
              <a:ext uri="{FF2B5EF4-FFF2-40B4-BE49-F238E27FC236}">
                <a16:creationId xmlns:a16="http://schemas.microsoft.com/office/drawing/2014/main" id="{CEBEEFA7-BA38-3640-8D05-BA35D9C9FA5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313775" y="2006927"/>
            <a:ext cx="1892300" cy="31273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25" name="Column 3">
            <a:extLst>
              <a:ext uri="{FF2B5EF4-FFF2-40B4-BE49-F238E27FC236}">
                <a16:creationId xmlns:a16="http://schemas.microsoft.com/office/drawing/2014/main" id="{42638CEB-FE41-3149-B18E-D43AD55BB2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01121" y="2681936"/>
            <a:ext cx="2319787" cy="3177252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63832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lumn Conten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A2699079-097B-CA44-BDE4-664F85187F4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40954"/>
            <a:ext cx="12192000" cy="99577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73CD589-820C-E34C-BB24-CFC41AFBF4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4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6" name="Chapter Title">
            <a:extLst>
              <a:ext uri="{FF2B5EF4-FFF2-40B4-BE49-F238E27FC236}">
                <a16:creationId xmlns:a16="http://schemas.microsoft.com/office/drawing/2014/main" id="{922674B1-49AA-9341-8C46-794E759907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BD0B7D5-0192-F646-9D3E-35CC8C2AFEB9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EF3A6DBF-0DEF-DB4B-A0B6-9518473843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4" name="Title line 1">
            <a:extLst>
              <a:ext uri="{FF2B5EF4-FFF2-40B4-BE49-F238E27FC236}">
                <a16:creationId xmlns:a16="http://schemas.microsoft.com/office/drawing/2014/main" id="{6E0352A1-1A9E-4B4D-AC82-71F39E86DC61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026892" y="1995932"/>
            <a:ext cx="1892300" cy="31273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7" name="Column 1">
            <a:extLst>
              <a:ext uri="{FF2B5EF4-FFF2-40B4-BE49-F238E27FC236}">
                <a16:creationId xmlns:a16="http://schemas.microsoft.com/office/drawing/2014/main" id="{93049BCE-22FC-114B-8D98-3B5794B6075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12059" y="2673159"/>
            <a:ext cx="2319787" cy="3177252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lvl="0"/>
            <a:endParaRPr lang="en-US"/>
          </a:p>
        </p:txBody>
      </p:sp>
      <p:sp>
        <p:nvSpPr>
          <p:cNvPr id="17" name="Title line 2">
            <a:extLst>
              <a:ext uri="{FF2B5EF4-FFF2-40B4-BE49-F238E27FC236}">
                <a16:creationId xmlns:a16="http://schemas.microsoft.com/office/drawing/2014/main" id="{16F4E1AB-6264-DF41-8025-CF302045B0D2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775168" y="1993226"/>
            <a:ext cx="1892300" cy="31273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23" name="Column 2">
            <a:extLst>
              <a:ext uri="{FF2B5EF4-FFF2-40B4-BE49-F238E27FC236}">
                <a16:creationId xmlns:a16="http://schemas.microsoft.com/office/drawing/2014/main" id="{CFA1A9FC-B5F4-4B4F-87A1-973B4BF19A4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61424" y="2673159"/>
            <a:ext cx="2319787" cy="3177252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lvl="0"/>
            <a:endParaRPr lang="en-US"/>
          </a:p>
        </p:txBody>
      </p:sp>
      <p:sp>
        <p:nvSpPr>
          <p:cNvPr id="18" name="Title line 3">
            <a:extLst>
              <a:ext uri="{FF2B5EF4-FFF2-40B4-BE49-F238E27FC236}">
                <a16:creationId xmlns:a16="http://schemas.microsoft.com/office/drawing/2014/main" id="{4005FD16-CA36-F449-BFD1-723D089159F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523443" y="2006927"/>
            <a:ext cx="1892300" cy="31273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25" name="Column 3">
            <a:extLst>
              <a:ext uri="{FF2B5EF4-FFF2-40B4-BE49-F238E27FC236}">
                <a16:creationId xmlns:a16="http://schemas.microsoft.com/office/drawing/2014/main" id="{42638CEB-FE41-3149-B18E-D43AD55BB2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10789" y="2681936"/>
            <a:ext cx="2319787" cy="3177252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lvl="0"/>
            <a:endParaRPr lang="en-US"/>
          </a:p>
        </p:txBody>
      </p:sp>
      <p:sp>
        <p:nvSpPr>
          <p:cNvPr id="21" name="Title line 4">
            <a:extLst>
              <a:ext uri="{FF2B5EF4-FFF2-40B4-BE49-F238E27FC236}">
                <a16:creationId xmlns:a16="http://schemas.microsoft.com/office/drawing/2014/main" id="{85D83742-7B64-2842-9FD7-C3DB4A118D5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271718" y="1998724"/>
            <a:ext cx="1892300" cy="31273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27" name="Column 4">
            <a:extLst>
              <a:ext uri="{FF2B5EF4-FFF2-40B4-BE49-F238E27FC236}">
                <a16:creationId xmlns:a16="http://schemas.microsoft.com/office/drawing/2014/main" id="{EB2FCF4E-2315-A74B-9A73-3DEC8F3B2CB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60154" y="2673159"/>
            <a:ext cx="2319787" cy="3177252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81136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200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80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Full Bleed Image_VIOLET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group of college students holding their notebooks share a laugh outside a school building.">
            <a:extLst>
              <a:ext uri="{FF2B5EF4-FFF2-40B4-BE49-F238E27FC236}">
                <a16:creationId xmlns:a16="http://schemas.microsoft.com/office/drawing/2014/main" id="{ED6FB341-F7F5-9842-DF4D-6D3D22DF86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B1327E40-7AE9-D645-B4A9-1806BB82E5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Display Date">
            <a:extLst>
              <a:ext uri="{FF2B5EF4-FFF2-40B4-BE49-F238E27FC236}">
                <a16:creationId xmlns:a16="http://schemas.microsoft.com/office/drawing/2014/main" id="{AF19FE6E-ABD4-0641-9E4F-ECE7E253ADA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64801" y="5893085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20" name="Name &amp; Surname">
            <a:extLst>
              <a:ext uri="{FF2B5EF4-FFF2-40B4-BE49-F238E27FC236}">
                <a16:creationId xmlns:a16="http://schemas.microsoft.com/office/drawing/2014/main" id="{7526AB89-E183-9647-B0C6-8DBEA8E2B6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64801" y="5508815"/>
            <a:ext cx="2939823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A35E7039-7E5C-EA46-8A76-6BF0BD49C6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64802" y="4486707"/>
            <a:ext cx="2760436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EE8D7D83-3733-6544-9A18-692EAF0556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79316" y="3395900"/>
            <a:ext cx="2745922" cy="9403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1" name="Picture 10" descr="McGraw Hill red cube logo ">
            <a:extLst>
              <a:ext uri="{FF2B5EF4-FFF2-40B4-BE49-F238E27FC236}">
                <a16:creationId xmlns:a16="http://schemas.microsoft.com/office/drawing/2014/main" id="{2133F0EF-B82D-AB41-BC98-F67769B6D1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750" y="18557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26305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9" pos="7310">
          <p15:clr>
            <a:srgbClr val="FBAE40"/>
          </p15:clr>
        </p15:guide>
        <p15:guide id="10" pos="336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46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istics_with Copy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490707B-6C6C-5E44-87D8-521DBCC7E21C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18818EE-D37D-50E7-F166-FDA5EEEF49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480845"/>
            <a:ext cx="7041819" cy="23216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C6B1683-BE6C-994F-8C71-4655A6D7B5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1" name="Chapter Title">
            <a:extLst>
              <a:ext uri="{FF2B5EF4-FFF2-40B4-BE49-F238E27FC236}">
                <a16:creationId xmlns:a16="http://schemas.microsoft.com/office/drawing/2014/main" id="{D28FF114-93DC-FC49-9934-51730AECAC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6" name="Pg">
            <a:extLst>
              <a:ext uri="{FF2B5EF4-FFF2-40B4-BE49-F238E27FC236}">
                <a16:creationId xmlns:a16="http://schemas.microsoft.com/office/drawing/2014/main" id="{B53FBC86-B154-F249-A0EA-A3F4998B886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5B2093CD-2406-1349-966B-57058BD810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4" y="1682595"/>
            <a:ext cx="4253436" cy="80431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7" name="Body Text">
            <a:extLst>
              <a:ext uri="{FF2B5EF4-FFF2-40B4-BE49-F238E27FC236}">
                <a16:creationId xmlns:a16="http://schemas.microsoft.com/office/drawing/2014/main" id="{16032F2A-D24D-FA45-816D-4D82D213E1B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9894" y="2650646"/>
            <a:ext cx="5581918" cy="9853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44" name="Stat 1">
            <a:extLst>
              <a:ext uri="{FF2B5EF4-FFF2-40B4-BE49-F238E27FC236}">
                <a16:creationId xmlns:a16="http://schemas.microsoft.com/office/drawing/2014/main" id="{4BD686AE-DC91-DC4E-98B6-493D6DB1708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2950" y="4170138"/>
            <a:ext cx="2473606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45" name="Stat 1 Caption">
            <a:extLst>
              <a:ext uri="{FF2B5EF4-FFF2-40B4-BE49-F238E27FC236}">
                <a16:creationId xmlns:a16="http://schemas.microsoft.com/office/drawing/2014/main" id="{19AE6206-7E35-854D-855D-A8B8530A72C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84482" y="5009199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47" name="Stat 1 Copy">
            <a:extLst>
              <a:ext uri="{FF2B5EF4-FFF2-40B4-BE49-F238E27FC236}">
                <a16:creationId xmlns:a16="http://schemas.microsoft.com/office/drawing/2014/main" id="{AD0265F3-4D1A-7D41-BF60-8182268D4F3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67140" y="5451133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51" name="Stat 2">
            <a:extLst>
              <a:ext uri="{FF2B5EF4-FFF2-40B4-BE49-F238E27FC236}">
                <a16:creationId xmlns:a16="http://schemas.microsoft.com/office/drawing/2014/main" id="{67E90FE2-CD3B-8049-88E7-E583DDC94D4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71477" y="4176571"/>
            <a:ext cx="2597434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.5M</a:t>
            </a:r>
          </a:p>
        </p:txBody>
      </p:sp>
      <p:sp>
        <p:nvSpPr>
          <p:cNvPr id="53" name="Stat 2 Caption">
            <a:extLst>
              <a:ext uri="{FF2B5EF4-FFF2-40B4-BE49-F238E27FC236}">
                <a16:creationId xmlns:a16="http://schemas.microsoft.com/office/drawing/2014/main" id="{E0AAA0E1-067E-5E46-84AD-C18938B78DD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03010" y="50156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55" name="Stat 2 Copy">
            <a:extLst>
              <a:ext uri="{FF2B5EF4-FFF2-40B4-BE49-F238E27FC236}">
                <a16:creationId xmlns:a16="http://schemas.microsoft.com/office/drawing/2014/main" id="{68C6FB9C-6833-F949-A1CB-672E8F902AD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85668" y="54575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68" name="Stat 3">
            <a:extLst>
              <a:ext uri="{FF2B5EF4-FFF2-40B4-BE49-F238E27FC236}">
                <a16:creationId xmlns:a16="http://schemas.microsoft.com/office/drawing/2014/main" id="{D37F84E6-BEEC-C347-BF35-E224CF12A56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95031" y="4176571"/>
            <a:ext cx="2463824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15%</a:t>
            </a:r>
          </a:p>
        </p:txBody>
      </p:sp>
      <p:sp>
        <p:nvSpPr>
          <p:cNvPr id="69" name="Stat 3 Caption">
            <a:extLst>
              <a:ext uri="{FF2B5EF4-FFF2-40B4-BE49-F238E27FC236}">
                <a16:creationId xmlns:a16="http://schemas.microsoft.com/office/drawing/2014/main" id="{4091B827-BD48-3845-A649-E3F411B59FF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326563" y="50156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hree</a:t>
            </a:r>
          </a:p>
        </p:txBody>
      </p:sp>
      <p:sp>
        <p:nvSpPr>
          <p:cNvPr id="70" name="Stat 3 Copy">
            <a:extLst>
              <a:ext uri="{FF2B5EF4-FFF2-40B4-BE49-F238E27FC236}">
                <a16:creationId xmlns:a16="http://schemas.microsoft.com/office/drawing/2014/main" id="{517CBC8F-6DC5-B447-AB17-999EEEB3ECD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09221" y="54575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73" name="Stat 4">
            <a:extLst>
              <a:ext uri="{FF2B5EF4-FFF2-40B4-BE49-F238E27FC236}">
                <a16:creationId xmlns:a16="http://schemas.microsoft.com/office/drawing/2014/main" id="{8BEC1142-9771-314C-B68C-DA151419BBF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17967" y="4180771"/>
            <a:ext cx="26833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.3K</a:t>
            </a:r>
          </a:p>
          <a:p>
            <a:pPr lvl="0"/>
            <a:endParaRPr lang="en-US"/>
          </a:p>
        </p:txBody>
      </p:sp>
      <p:sp>
        <p:nvSpPr>
          <p:cNvPr id="74" name="Stat 4 Caption">
            <a:extLst>
              <a:ext uri="{FF2B5EF4-FFF2-40B4-BE49-F238E27FC236}">
                <a16:creationId xmlns:a16="http://schemas.microsoft.com/office/drawing/2014/main" id="{C5CA4CF6-97DE-F940-9A01-DAF0E307ABC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149500" y="50198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Four</a:t>
            </a:r>
          </a:p>
        </p:txBody>
      </p:sp>
      <p:sp>
        <p:nvSpPr>
          <p:cNvPr id="75" name="Stat 4 Copy">
            <a:extLst>
              <a:ext uri="{FF2B5EF4-FFF2-40B4-BE49-F238E27FC236}">
                <a16:creationId xmlns:a16="http://schemas.microsoft.com/office/drawing/2014/main" id="{A3C1FD35-204F-ED4E-85E0-D19F8AEBD05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32158" y="54617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40511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309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istics_with Copy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490707B-6C6C-5E44-87D8-521DBCC7E21C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>
              <a:solidFill>
                <a:schemeClr val="accent3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1C4C9A5-0868-2701-BC50-B6336F7A9B3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480845"/>
            <a:ext cx="7041819" cy="23216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C4C2075-62BB-E24C-8076-CA96EF9E70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1" name="Chapter Title">
            <a:extLst>
              <a:ext uri="{FF2B5EF4-FFF2-40B4-BE49-F238E27FC236}">
                <a16:creationId xmlns:a16="http://schemas.microsoft.com/office/drawing/2014/main" id="{DB23EC58-BCB7-634A-BB1D-B02CF96ACF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28B7895A-CD17-BE4E-8275-3B988852FF7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4" y="1682595"/>
            <a:ext cx="4253436" cy="80431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7" name="Body Text">
            <a:extLst>
              <a:ext uri="{FF2B5EF4-FFF2-40B4-BE49-F238E27FC236}">
                <a16:creationId xmlns:a16="http://schemas.microsoft.com/office/drawing/2014/main" id="{16032F2A-D24D-FA45-816D-4D82D213E1B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9894" y="2650646"/>
            <a:ext cx="5581918" cy="9853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44" name="Stat 1">
            <a:extLst>
              <a:ext uri="{FF2B5EF4-FFF2-40B4-BE49-F238E27FC236}">
                <a16:creationId xmlns:a16="http://schemas.microsoft.com/office/drawing/2014/main" id="{4BD686AE-DC91-DC4E-98B6-493D6DB1708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2950" y="4170138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45" name="Stat 1 caption">
            <a:extLst>
              <a:ext uri="{FF2B5EF4-FFF2-40B4-BE49-F238E27FC236}">
                <a16:creationId xmlns:a16="http://schemas.microsoft.com/office/drawing/2014/main" id="{19AE6206-7E35-854D-855D-A8B8530A72C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84482" y="5009199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47" name="Stat 1 copy">
            <a:extLst>
              <a:ext uri="{FF2B5EF4-FFF2-40B4-BE49-F238E27FC236}">
                <a16:creationId xmlns:a16="http://schemas.microsoft.com/office/drawing/2014/main" id="{AD0265F3-4D1A-7D41-BF60-8182268D4F3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67140" y="5451133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51" name="Stat 2">
            <a:extLst>
              <a:ext uri="{FF2B5EF4-FFF2-40B4-BE49-F238E27FC236}">
                <a16:creationId xmlns:a16="http://schemas.microsoft.com/office/drawing/2014/main" id="{67E90FE2-CD3B-8049-88E7-E583DDC94D4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71477" y="4176571"/>
            <a:ext cx="2441567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.5M</a:t>
            </a:r>
          </a:p>
        </p:txBody>
      </p:sp>
      <p:sp>
        <p:nvSpPr>
          <p:cNvPr id="53" name="Stat 2 caption">
            <a:extLst>
              <a:ext uri="{FF2B5EF4-FFF2-40B4-BE49-F238E27FC236}">
                <a16:creationId xmlns:a16="http://schemas.microsoft.com/office/drawing/2014/main" id="{E0AAA0E1-067E-5E46-84AD-C18938B78DD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03010" y="50156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55" name="Stat 2 copy">
            <a:extLst>
              <a:ext uri="{FF2B5EF4-FFF2-40B4-BE49-F238E27FC236}">
                <a16:creationId xmlns:a16="http://schemas.microsoft.com/office/drawing/2014/main" id="{68C6FB9C-6833-F949-A1CB-672E8F902AD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85668" y="54575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68" name="Stat 3">
            <a:extLst>
              <a:ext uri="{FF2B5EF4-FFF2-40B4-BE49-F238E27FC236}">
                <a16:creationId xmlns:a16="http://schemas.microsoft.com/office/drawing/2014/main" id="{D37F84E6-BEEC-C347-BF35-E224CF12A56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95031" y="4176571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15%</a:t>
            </a:r>
          </a:p>
        </p:txBody>
      </p:sp>
      <p:sp>
        <p:nvSpPr>
          <p:cNvPr id="69" name="Stat 3 caption">
            <a:extLst>
              <a:ext uri="{FF2B5EF4-FFF2-40B4-BE49-F238E27FC236}">
                <a16:creationId xmlns:a16="http://schemas.microsoft.com/office/drawing/2014/main" id="{4091B827-BD48-3845-A649-E3F411B59FF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326563" y="50156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hree</a:t>
            </a:r>
          </a:p>
        </p:txBody>
      </p:sp>
      <p:sp>
        <p:nvSpPr>
          <p:cNvPr id="70" name="Stat 3 copy">
            <a:extLst>
              <a:ext uri="{FF2B5EF4-FFF2-40B4-BE49-F238E27FC236}">
                <a16:creationId xmlns:a16="http://schemas.microsoft.com/office/drawing/2014/main" id="{517CBC8F-6DC5-B447-AB17-999EEEB3ECD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09221" y="54575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73" name="Stat 4">
            <a:extLst>
              <a:ext uri="{FF2B5EF4-FFF2-40B4-BE49-F238E27FC236}">
                <a16:creationId xmlns:a16="http://schemas.microsoft.com/office/drawing/2014/main" id="{8BEC1142-9771-314C-B68C-DA151419BBF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17967" y="4180771"/>
            <a:ext cx="2301403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.3K</a:t>
            </a:r>
          </a:p>
          <a:p>
            <a:pPr lvl="0"/>
            <a:endParaRPr lang="en-US"/>
          </a:p>
        </p:txBody>
      </p:sp>
      <p:sp>
        <p:nvSpPr>
          <p:cNvPr id="74" name="Stat 4 caption">
            <a:extLst>
              <a:ext uri="{FF2B5EF4-FFF2-40B4-BE49-F238E27FC236}">
                <a16:creationId xmlns:a16="http://schemas.microsoft.com/office/drawing/2014/main" id="{C5CA4CF6-97DE-F940-9A01-DAF0E307ABC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149500" y="50198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Four</a:t>
            </a:r>
          </a:p>
        </p:txBody>
      </p:sp>
      <p:sp>
        <p:nvSpPr>
          <p:cNvPr id="75" name="Stat 4 copy">
            <a:extLst>
              <a:ext uri="{FF2B5EF4-FFF2-40B4-BE49-F238E27FC236}">
                <a16:creationId xmlns:a16="http://schemas.microsoft.com/office/drawing/2014/main" id="{A3C1FD35-204F-ED4E-85E0-D19F8AEBD05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32158" y="54617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26" name="Pg">
            <a:extLst>
              <a:ext uri="{FF2B5EF4-FFF2-40B4-BE49-F238E27FC236}">
                <a16:creationId xmlns:a16="http://schemas.microsoft.com/office/drawing/2014/main" id="{0D918B0F-8556-604B-BAA8-A6C7C9B54BD5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3711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309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istics_with Copy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490707B-6C6C-5E44-87D8-521DBCC7E21C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B603EE6-48B1-A9DD-3E8C-9F040098CC7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480845"/>
            <a:ext cx="7041819" cy="23216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FF60865-49F2-1743-ACC3-2007E090A73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1" name="Chapter Title">
            <a:extLst>
              <a:ext uri="{FF2B5EF4-FFF2-40B4-BE49-F238E27FC236}">
                <a16:creationId xmlns:a16="http://schemas.microsoft.com/office/drawing/2014/main" id="{937ACD68-09C5-D248-B40F-4B1840FDA9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430514C7-0A12-D14C-9687-4F3B4194A5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4" y="1682595"/>
            <a:ext cx="4253436" cy="80431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7" name="Body text">
            <a:extLst>
              <a:ext uri="{FF2B5EF4-FFF2-40B4-BE49-F238E27FC236}">
                <a16:creationId xmlns:a16="http://schemas.microsoft.com/office/drawing/2014/main" id="{16032F2A-D24D-FA45-816D-4D82D213E1B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9894" y="2650646"/>
            <a:ext cx="5581918" cy="9853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44" name="Stat 1">
            <a:extLst>
              <a:ext uri="{FF2B5EF4-FFF2-40B4-BE49-F238E27FC236}">
                <a16:creationId xmlns:a16="http://schemas.microsoft.com/office/drawing/2014/main" id="{4BD686AE-DC91-DC4E-98B6-493D6DB1708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2950" y="4170138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45" name="Stat 1 caption">
            <a:extLst>
              <a:ext uri="{FF2B5EF4-FFF2-40B4-BE49-F238E27FC236}">
                <a16:creationId xmlns:a16="http://schemas.microsoft.com/office/drawing/2014/main" id="{19AE6206-7E35-854D-855D-A8B8530A72C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84482" y="5009199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47" name="Stat 1 copy">
            <a:extLst>
              <a:ext uri="{FF2B5EF4-FFF2-40B4-BE49-F238E27FC236}">
                <a16:creationId xmlns:a16="http://schemas.microsoft.com/office/drawing/2014/main" id="{AD0265F3-4D1A-7D41-BF60-8182268D4F3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67140" y="5451133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51" name="Stat 2">
            <a:extLst>
              <a:ext uri="{FF2B5EF4-FFF2-40B4-BE49-F238E27FC236}">
                <a16:creationId xmlns:a16="http://schemas.microsoft.com/office/drawing/2014/main" id="{67E90FE2-CD3B-8049-88E7-E583DDC94D4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71477" y="4176571"/>
            <a:ext cx="2441567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.5M</a:t>
            </a:r>
          </a:p>
        </p:txBody>
      </p:sp>
      <p:sp>
        <p:nvSpPr>
          <p:cNvPr id="53" name="Stat 2 caption">
            <a:extLst>
              <a:ext uri="{FF2B5EF4-FFF2-40B4-BE49-F238E27FC236}">
                <a16:creationId xmlns:a16="http://schemas.microsoft.com/office/drawing/2014/main" id="{E0AAA0E1-067E-5E46-84AD-C18938B78DD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03010" y="50156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55" name="Stat 2 Copy">
            <a:extLst>
              <a:ext uri="{FF2B5EF4-FFF2-40B4-BE49-F238E27FC236}">
                <a16:creationId xmlns:a16="http://schemas.microsoft.com/office/drawing/2014/main" id="{68C6FB9C-6833-F949-A1CB-672E8F902AD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85668" y="54575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68" name="Stat 3">
            <a:extLst>
              <a:ext uri="{FF2B5EF4-FFF2-40B4-BE49-F238E27FC236}">
                <a16:creationId xmlns:a16="http://schemas.microsoft.com/office/drawing/2014/main" id="{D37F84E6-BEEC-C347-BF35-E224CF12A56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95031" y="4176571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15%</a:t>
            </a:r>
          </a:p>
        </p:txBody>
      </p:sp>
      <p:sp>
        <p:nvSpPr>
          <p:cNvPr id="69" name="Stat 3 caption">
            <a:extLst>
              <a:ext uri="{FF2B5EF4-FFF2-40B4-BE49-F238E27FC236}">
                <a16:creationId xmlns:a16="http://schemas.microsoft.com/office/drawing/2014/main" id="{4091B827-BD48-3845-A649-E3F411B59FF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326563" y="50156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hree</a:t>
            </a:r>
          </a:p>
        </p:txBody>
      </p:sp>
      <p:sp>
        <p:nvSpPr>
          <p:cNvPr id="70" name="Stat 3 copy">
            <a:extLst>
              <a:ext uri="{FF2B5EF4-FFF2-40B4-BE49-F238E27FC236}">
                <a16:creationId xmlns:a16="http://schemas.microsoft.com/office/drawing/2014/main" id="{517CBC8F-6DC5-B447-AB17-999EEEB3ECD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09221" y="54575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73" name="Stat 4">
            <a:extLst>
              <a:ext uri="{FF2B5EF4-FFF2-40B4-BE49-F238E27FC236}">
                <a16:creationId xmlns:a16="http://schemas.microsoft.com/office/drawing/2014/main" id="{8BEC1142-9771-314C-B68C-DA151419BBF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17967" y="4180771"/>
            <a:ext cx="2301403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.3K</a:t>
            </a:r>
          </a:p>
          <a:p>
            <a:pPr lvl="0"/>
            <a:endParaRPr lang="en-US"/>
          </a:p>
        </p:txBody>
      </p:sp>
      <p:sp>
        <p:nvSpPr>
          <p:cNvPr id="74" name="Stat 4 caption">
            <a:extLst>
              <a:ext uri="{FF2B5EF4-FFF2-40B4-BE49-F238E27FC236}">
                <a16:creationId xmlns:a16="http://schemas.microsoft.com/office/drawing/2014/main" id="{C5CA4CF6-97DE-F940-9A01-DAF0E307ABC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149500" y="50198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Four</a:t>
            </a:r>
          </a:p>
        </p:txBody>
      </p:sp>
      <p:sp>
        <p:nvSpPr>
          <p:cNvPr id="75" name="Stat 4 Copy">
            <a:extLst>
              <a:ext uri="{FF2B5EF4-FFF2-40B4-BE49-F238E27FC236}">
                <a16:creationId xmlns:a16="http://schemas.microsoft.com/office/drawing/2014/main" id="{A3C1FD35-204F-ED4E-85E0-D19F8AEBD05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32158" y="54617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26" name="Pg">
            <a:extLst>
              <a:ext uri="{FF2B5EF4-FFF2-40B4-BE49-F238E27FC236}">
                <a16:creationId xmlns:a16="http://schemas.microsoft.com/office/drawing/2014/main" id="{E60BAC26-48D6-E248-B41C-2CCDFE986489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84211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309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ts_Image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24A805ED-D40C-5C40-894F-47559BF2F622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1946E26-8BE7-2D48-86AC-6974E1F63A4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1" name="Chapter Title">
            <a:extLst>
              <a:ext uri="{FF2B5EF4-FFF2-40B4-BE49-F238E27FC236}">
                <a16:creationId xmlns:a16="http://schemas.microsoft.com/office/drawing/2014/main" id="{13CBDD01-29C4-1745-98AD-13788A1461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3A98EC6B-7BB0-C948-B167-15145EFB6A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1E366E92-31CB-554F-81AB-17D313A7A12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0" y="1987867"/>
            <a:ext cx="8175625" cy="4074286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tat 1">
            <a:extLst>
              <a:ext uri="{FF2B5EF4-FFF2-40B4-BE49-F238E27FC236}">
                <a16:creationId xmlns:a16="http://schemas.microsoft.com/office/drawing/2014/main" id="{C9E00311-1B4A-3A45-B2E1-0DEC2AF42FE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41850" y="1856499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13" name="Stat 1 Caption">
            <a:extLst>
              <a:ext uri="{FF2B5EF4-FFF2-40B4-BE49-F238E27FC236}">
                <a16:creationId xmlns:a16="http://schemas.microsoft.com/office/drawing/2014/main" id="{38EEFF29-C9F6-F448-9DE3-B7BED4EA285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41850" y="272709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14" name="Stat 1 Copy">
            <a:extLst>
              <a:ext uri="{FF2B5EF4-FFF2-40B4-BE49-F238E27FC236}">
                <a16:creationId xmlns:a16="http://schemas.microsoft.com/office/drawing/2014/main" id="{B83545D4-1FE8-DC43-9A81-6F250435877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756040" y="316902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15" name="Stat 2">
            <a:extLst>
              <a:ext uri="{FF2B5EF4-FFF2-40B4-BE49-F238E27FC236}">
                <a16:creationId xmlns:a16="http://schemas.microsoft.com/office/drawing/2014/main" id="{4ABC467F-D107-4747-9586-1125DD08C17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789148" y="4177238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5%</a:t>
            </a:r>
          </a:p>
        </p:txBody>
      </p:sp>
      <p:sp>
        <p:nvSpPr>
          <p:cNvPr id="16" name="Stat 2 Caption">
            <a:extLst>
              <a:ext uri="{FF2B5EF4-FFF2-40B4-BE49-F238E27FC236}">
                <a16:creationId xmlns:a16="http://schemas.microsoft.com/office/drawing/2014/main" id="{8BD7BB4D-CE28-1E4B-9665-50E32471A56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789148" y="5047831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17" name="Stat 2 Copy">
            <a:extLst>
              <a:ext uri="{FF2B5EF4-FFF2-40B4-BE49-F238E27FC236}">
                <a16:creationId xmlns:a16="http://schemas.microsoft.com/office/drawing/2014/main" id="{EB835A56-B62C-D14B-903D-610071ADC1C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803338" y="5489765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20" name="Pg">
            <a:extLst>
              <a:ext uri="{FF2B5EF4-FFF2-40B4-BE49-F238E27FC236}">
                <a16:creationId xmlns:a16="http://schemas.microsoft.com/office/drawing/2014/main" id="{0116EA0E-2BFB-CB43-BCB2-E6275846FF83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3800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ts_Image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24A805ED-D40C-5C40-894F-47559BF2F622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A4452E8-D98B-7D49-89F4-1988EA1CF4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1" name="Chapter Title">
            <a:extLst>
              <a:ext uri="{FF2B5EF4-FFF2-40B4-BE49-F238E27FC236}">
                <a16:creationId xmlns:a16="http://schemas.microsoft.com/office/drawing/2014/main" id="{EB64CB2E-C92D-124D-B974-0B1896DAFD5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F928CD4C-6268-8747-985F-C59CF046D0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2B551DAC-27EA-C24C-B386-EC1AF8D644AB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0" y="1987867"/>
            <a:ext cx="8175625" cy="4074286"/>
          </a:xfrm>
        </p:spPr>
        <p:txBody>
          <a:bodyPr/>
          <a:lstStyle/>
          <a:p>
            <a:endParaRPr lang="en-US"/>
          </a:p>
        </p:txBody>
      </p:sp>
      <p:sp>
        <p:nvSpPr>
          <p:cNvPr id="19" name="Stat 1">
            <a:extLst>
              <a:ext uri="{FF2B5EF4-FFF2-40B4-BE49-F238E27FC236}">
                <a16:creationId xmlns:a16="http://schemas.microsoft.com/office/drawing/2014/main" id="{F98DED31-4635-444D-919C-2B2B0E840F3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41850" y="1856499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23" name="Stat 1 Caption">
            <a:extLst>
              <a:ext uri="{FF2B5EF4-FFF2-40B4-BE49-F238E27FC236}">
                <a16:creationId xmlns:a16="http://schemas.microsoft.com/office/drawing/2014/main" id="{331C2C7A-A19F-4D41-AF05-994255D0A1C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41850" y="272709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24" name="Stat 1 Copy">
            <a:extLst>
              <a:ext uri="{FF2B5EF4-FFF2-40B4-BE49-F238E27FC236}">
                <a16:creationId xmlns:a16="http://schemas.microsoft.com/office/drawing/2014/main" id="{085B1092-89BA-6141-A8AF-C417ED755A4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756040" y="316902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25" name="Stat 2">
            <a:extLst>
              <a:ext uri="{FF2B5EF4-FFF2-40B4-BE49-F238E27FC236}">
                <a16:creationId xmlns:a16="http://schemas.microsoft.com/office/drawing/2014/main" id="{3F2FC970-AFDD-3442-9C3D-1624B73CCDE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789148" y="4177238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5%</a:t>
            </a:r>
          </a:p>
        </p:txBody>
      </p:sp>
      <p:sp>
        <p:nvSpPr>
          <p:cNvPr id="26" name="Stat 2 Caption">
            <a:extLst>
              <a:ext uri="{FF2B5EF4-FFF2-40B4-BE49-F238E27FC236}">
                <a16:creationId xmlns:a16="http://schemas.microsoft.com/office/drawing/2014/main" id="{2364D5FE-A84F-B94C-A9A4-9473F667299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789148" y="5047831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27" name="Stat 2 Copy">
            <a:extLst>
              <a:ext uri="{FF2B5EF4-FFF2-40B4-BE49-F238E27FC236}">
                <a16:creationId xmlns:a16="http://schemas.microsoft.com/office/drawing/2014/main" id="{C7FFAD34-E2B5-C749-BB8B-450A44FC17C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803338" y="5489765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20" name="Pg">
            <a:extLst>
              <a:ext uri="{FF2B5EF4-FFF2-40B4-BE49-F238E27FC236}">
                <a16:creationId xmlns:a16="http://schemas.microsoft.com/office/drawing/2014/main" id="{D5A19222-FB40-1547-B796-7486CB30C683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245870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ts_Image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24A805ED-D40C-5C40-894F-47559BF2F622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1CF8A6E-8B6C-6747-84E2-7847C60A12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5" name="Chapter Title">
            <a:extLst>
              <a:ext uri="{FF2B5EF4-FFF2-40B4-BE49-F238E27FC236}">
                <a16:creationId xmlns:a16="http://schemas.microsoft.com/office/drawing/2014/main" id="{7F34424B-8820-7344-948C-E6A37BDAAAF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1B342B07-82AB-0B4B-B28F-D846667724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1DD162E7-2D04-F14B-8AE4-67BBDF2FB66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0" y="1987867"/>
            <a:ext cx="8175625" cy="4074286"/>
          </a:xfrm>
        </p:spPr>
        <p:txBody>
          <a:bodyPr/>
          <a:lstStyle/>
          <a:p>
            <a:endParaRPr lang="en-US"/>
          </a:p>
        </p:txBody>
      </p:sp>
      <p:sp>
        <p:nvSpPr>
          <p:cNvPr id="14" name="Stat 1">
            <a:extLst>
              <a:ext uri="{FF2B5EF4-FFF2-40B4-BE49-F238E27FC236}">
                <a16:creationId xmlns:a16="http://schemas.microsoft.com/office/drawing/2014/main" id="{8719B257-7CF2-6F44-B644-631E6E5FD3A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41850" y="1856499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18" name="Stat 1 Caption">
            <a:extLst>
              <a:ext uri="{FF2B5EF4-FFF2-40B4-BE49-F238E27FC236}">
                <a16:creationId xmlns:a16="http://schemas.microsoft.com/office/drawing/2014/main" id="{57760C02-0E47-7F4E-A806-343D2358533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41850" y="272709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19" name="Stat 1 Copy">
            <a:extLst>
              <a:ext uri="{FF2B5EF4-FFF2-40B4-BE49-F238E27FC236}">
                <a16:creationId xmlns:a16="http://schemas.microsoft.com/office/drawing/2014/main" id="{EBA0D26B-DB92-4246-9287-4BA2780352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756040" y="316902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20" name="Stat 2">
            <a:extLst>
              <a:ext uri="{FF2B5EF4-FFF2-40B4-BE49-F238E27FC236}">
                <a16:creationId xmlns:a16="http://schemas.microsoft.com/office/drawing/2014/main" id="{B255A082-26C5-3C48-A4C3-084ADA5B701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789148" y="4177238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5%</a:t>
            </a:r>
          </a:p>
        </p:txBody>
      </p:sp>
      <p:sp>
        <p:nvSpPr>
          <p:cNvPr id="21" name="Stat 2 Caption">
            <a:extLst>
              <a:ext uri="{FF2B5EF4-FFF2-40B4-BE49-F238E27FC236}">
                <a16:creationId xmlns:a16="http://schemas.microsoft.com/office/drawing/2014/main" id="{A2FDE0EB-7516-884E-8EAB-A79C468518D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789148" y="5047831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22" name="Stat 2 Copy">
            <a:extLst>
              <a:ext uri="{FF2B5EF4-FFF2-40B4-BE49-F238E27FC236}">
                <a16:creationId xmlns:a16="http://schemas.microsoft.com/office/drawing/2014/main" id="{26318E31-81CB-5441-B056-B8D276EEF00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803338" y="5489765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82F9A6A3-1428-324C-BC1A-CD4F519AE9C5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60018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2EA4367-3689-7945-B203-0D5FD9A1E7A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4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2" name="Chapter Title">
            <a:extLst>
              <a:ext uri="{FF2B5EF4-FFF2-40B4-BE49-F238E27FC236}">
                <a16:creationId xmlns:a16="http://schemas.microsoft.com/office/drawing/2014/main" id="{50B2CB3F-B6DB-5040-BDF4-7D5177457F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9" name="Pg">
            <a:extLst>
              <a:ext uri="{FF2B5EF4-FFF2-40B4-BE49-F238E27FC236}">
                <a16:creationId xmlns:a16="http://schemas.microsoft.com/office/drawing/2014/main" id="{3FA4234B-1496-4443-A1CD-3B9779E171F4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504961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Image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38DB4CB4-1406-7FBC-0880-CB7AB119A95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6603" y="1478642"/>
            <a:ext cx="2133798" cy="4871033"/>
          </a:xfrm>
          <a:prstGeom prst="rect">
            <a:avLst/>
          </a:prstGeom>
        </p:spPr>
      </p:pic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A96E7CA0-8C3C-3EBD-6ED3-9BB769E80B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225018" y="2094403"/>
            <a:ext cx="3422336" cy="3414533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txBody>
          <a:bodyPr/>
          <a:lstStyle/>
          <a:p>
            <a:endParaRPr lang="en-US"/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693589" y="1534550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147157"/>
            <a:ext cx="5307918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” 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96000" y="5023091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7" name="Pg">
            <a:extLst>
              <a:ext uri="{FF2B5EF4-FFF2-40B4-BE49-F238E27FC236}">
                <a16:creationId xmlns:a16="http://schemas.microsoft.com/office/drawing/2014/main" id="{72137697-89EC-9F1C-0D19-51DF4306ED77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6652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Image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619D03A-D2EB-A738-BA8D-A429CF6572F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9809" y="1366152"/>
            <a:ext cx="2133800" cy="4871033"/>
          </a:xfrm>
          <a:prstGeom prst="rect">
            <a:avLst/>
          </a:prstGeom>
        </p:spPr>
      </p:pic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8DFB25E2-62AC-989D-869E-A1139CC8209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225018" y="2094403"/>
            <a:ext cx="3422336" cy="3414533"/>
          </a:xfrm>
          <a:prstGeom prst="rect">
            <a:avLst/>
          </a:prstGeom>
          <a:solidFill>
            <a:schemeClr val="bg1"/>
          </a:solidFill>
          <a:ln w="38100">
            <a:solidFill>
              <a:srgbClr val="092467"/>
            </a:solidFill>
          </a:ln>
        </p:spPr>
        <p:txBody>
          <a:bodyPr/>
          <a:lstStyle/>
          <a:p>
            <a:endParaRPr lang="en-US"/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693589" y="1534550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147157"/>
            <a:ext cx="5307918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” 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96000" y="5023091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5" name="Pg">
            <a:extLst>
              <a:ext uri="{FF2B5EF4-FFF2-40B4-BE49-F238E27FC236}">
                <a16:creationId xmlns:a16="http://schemas.microsoft.com/office/drawing/2014/main" id="{1E4CAEF0-50E4-ADAC-E4A7-03D572F8956D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09593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Image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7D88A5F-5A6A-CE48-F65D-46990A73FB7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47387" y="1330058"/>
            <a:ext cx="2133799" cy="4871033"/>
          </a:xfrm>
          <a:prstGeom prst="rect">
            <a:avLst/>
          </a:prstGeom>
        </p:spPr>
      </p:pic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BFF64230-07C6-7B2F-A4C6-3382A20E666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225018" y="2094403"/>
            <a:ext cx="3422336" cy="3414533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txBody>
          <a:bodyPr/>
          <a:lstStyle/>
          <a:p>
            <a:endParaRPr lang="en-US"/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693589" y="1534550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147157"/>
            <a:ext cx="5307918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” 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96000" y="5023091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5" name="Pg">
            <a:extLst>
              <a:ext uri="{FF2B5EF4-FFF2-40B4-BE49-F238E27FC236}">
                <a16:creationId xmlns:a16="http://schemas.microsoft.com/office/drawing/2014/main" id="{33CDB57F-9CE5-5F88-4534-111CCA922852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51016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4.xml"/><Relationship Id="rId2" Type="http://schemas.openxmlformats.org/officeDocument/2006/relationships/slideLayout" Target="../slideLayouts/slideLayout113.xml"/><Relationship Id="rId1" Type="http://schemas.openxmlformats.org/officeDocument/2006/relationships/slideLayout" Target="../slideLayouts/slideLayout112.xml"/><Relationship Id="rId5" Type="http://schemas.openxmlformats.org/officeDocument/2006/relationships/theme" Target="../theme/theme10.xml"/><Relationship Id="rId4" Type="http://schemas.openxmlformats.org/officeDocument/2006/relationships/slideLayout" Target="../slideLayouts/slideLayout115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3.xml"/><Relationship Id="rId13" Type="http://schemas.openxmlformats.org/officeDocument/2006/relationships/slideLayout" Target="../slideLayouts/slideLayout128.xml"/><Relationship Id="rId18" Type="http://schemas.openxmlformats.org/officeDocument/2006/relationships/slideLayout" Target="../slideLayouts/slideLayout133.xml"/><Relationship Id="rId3" Type="http://schemas.openxmlformats.org/officeDocument/2006/relationships/slideLayout" Target="../slideLayouts/slideLayout118.xml"/><Relationship Id="rId21" Type="http://schemas.openxmlformats.org/officeDocument/2006/relationships/image" Target="../media/image14.emf"/><Relationship Id="rId7" Type="http://schemas.openxmlformats.org/officeDocument/2006/relationships/slideLayout" Target="../slideLayouts/slideLayout122.xml"/><Relationship Id="rId12" Type="http://schemas.openxmlformats.org/officeDocument/2006/relationships/slideLayout" Target="../slideLayouts/slideLayout127.xml"/><Relationship Id="rId17" Type="http://schemas.openxmlformats.org/officeDocument/2006/relationships/slideLayout" Target="../slideLayouts/slideLayout132.xml"/><Relationship Id="rId2" Type="http://schemas.openxmlformats.org/officeDocument/2006/relationships/slideLayout" Target="../slideLayouts/slideLayout117.xml"/><Relationship Id="rId16" Type="http://schemas.openxmlformats.org/officeDocument/2006/relationships/slideLayout" Target="../slideLayouts/slideLayout131.xml"/><Relationship Id="rId20" Type="http://schemas.openxmlformats.org/officeDocument/2006/relationships/theme" Target="../theme/theme11.xml"/><Relationship Id="rId1" Type="http://schemas.openxmlformats.org/officeDocument/2006/relationships/slideLayout" Target="../slideLayouts/slideLayout116.xml"/><Relationship Id="rId6" Type="http://schemas.openxmlformats.org/officeDocument/2006/relationships/slideLayout" Target="../slideLayouts/slideLayout121.xml"/><Relationship Id="rId11" Type="http://schemas.openxmlformats.org/officeDocument/2006/relationships/slideLayout" Target="../slideLayouts/slideLayout126.xml"/><Relationship Id="rId5" Type="http://schemas.openxmlformats.org/officeDocument/2006/relationships/slideLayout" Target="../slideLayouts/slideLayout120.xml"/><Relationship Id="rId15" Type="http://schemas.openxmlformats.org/officeDocument/2006/relationships/slideLayout" Target="../slideLayouts/slideLayout130.xml"/><Relationship Id="rId10" Type="http://schemas.openxmlformats.org/officeDocument/2006/relationships/slideLayout" Target="../slideLayouts/slideLayout125.xml"/><Relationship Id="rId19" Type="http://schemas.openxmlformats.org/officeDocument/2006/relationships/slideLayout" Target="../slideLayouts/slideLayout134.xml"/><Relationship Id="rId4" Type="http://schemas.openxmlformats.org/officeDocument/2006/relationships/slideLayout" Target="../slideLayouts/slideLayout119.xml"/><Relationship Id="rId9" Type="http://schemas.openxmlformats.org/officeDocument/2006/relationships/slideLayout" Target="../slideLayouts/slideLayout124.xml"/><Relationship Id="rId14" Type="http://schemas.openxmlformats.org/officeDocument/2006/relationships/slideLayout" Target="../slideLayouts/slideLayout129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2.xml"/><Relationship Id="rId13" Type="http://schemas.openxmlformats.org/officeDocument/2006/relationships/slideLayout" Target="../slideLayouts/slideLayout147.xml"/><Relationship Id="rId18" Type="http://schemas.openxmlformats.org/officeDocument/2006/relationships/image" Target="../media/image24.emf"/><Relationship Id="rId3" Type="http://schemas.openxmlformats.org/officeDocument/2006/relationships/slideLayout" Target="../slideLayouts/slideLayout137.xml"/><Relationship Id="rId7" Type="http://schemas.openxmlformats.org/officeDocument/2006/relationships/slideLayout" Target="../slideLayouts/slideLayout141.xml"/><Relationship Id="rId12" Type="http://schemas.openxmlformats.org/officeDocument/2006/relationships/slideLayout" Target="../slideLayouts/slideLayout146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136.xml"/><Relationship Id="rId16" Type="http://schemas.openxmlformats.org/officeDocument/2006/relationships/tags" Target="../tags/tag1.xml"/><Relationship Id="rId1" Type="http://schemas.openxmlformats.org/officeDocument/2006/relationships/slideLayout" Target="../slideLayouts/slideLayout135.xml"/><Relationship Id="rId6" Type="http://schemas.openxmlformats.org/officeDocument/2006/relationships/slideLayout" Target="../slideLayouts/slideLayout140.xml"/><Relationship Id="rId11" Type="http://schemas.openxmlformats.org/officeDocument/2006/relationships/slideLayout" Target="../slideLayouts/slideLayout145.xml"/><Relationship Id="rId5" Type="http://schemas.openxmlformats.org/officeDocument/2006/relationships/slideLayout" Target="../slideLayouts/slideLayout139.xml"/><Relationship Id="rId15" Type="http://schemas.openxmlformats.org/officeDocument/2006/relationships/theme" Target="../theme/theme12.xml"/><Relationship Id="rId10" Type="http://schemas.openxmlformats.org/officeDocument/2006/relationships/slideLayout" Target="../slideLayouts/slideLayout144.xml"/><Relationship Id="rId4" Type="http://schemas.openxmlformats.org/officeDocument/2006/relationships/slideLayout" Target="../slideLayouts/slideLayout138.xml"/><Relationship Id="rId9" Type="http://schemas.openxmlformats.org/officeDocument/2006/relationships/slideLayout" Target="../slideLayouts/slideLayout143.xml"/><Relationship Id="rId14" Type="http://schemas.openxmlformats.org/officeDocument/2006/relationships/slideLayout" Target="../slideLayouts/slideLayout148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14.em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2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image" Target="../media/image14.emf"/><Relationship Id="rId5" Type="http://schemas.openxmlformats.org/officeDocument/2006/relationships/slideLayout" Target="../slideLayouts/slideLayout32.xml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slideLayout" Target="../slideLayouts/slideLayout49.xml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5" Type="http://schemas.openxmlformats.org/officeDocument/2006/relationships/image" Target="../media/image14.emf"/><Relationship Id="rId10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2.xml"/><Relationship Id="rId18" Type="http://schemas.openxmlformats.org/officeDocument/2006/relationships/slideLayout" Target="../slideLayouts/slideLayout67.xml"/><Relationship Id="rId26" Type="http://schemas.openxmlformats.org/officeDocument/2006/relationships/slideLayout" Target="../slideLayouts/slideLayout75.xml"/><Relationship Id="rId3" Type="http://schemas.openxmlformats.org/officeDocument/2006/relationships/slideLayout" Target="../slideLayouts/slideLayout52.xml"/><Relationship Id="rId21" Type="http://schemas.openxmlformats.org/officeDocument/2006/relationships/slideLayout" Target="../slideLayouts/slideLayout70.xml"/><Relationship Id="rId34" Type="http://schemas.openxmlformats.org/officeDocument/2006/relationships/theme" Target="../theme/theme6.xml"/><Relationship Id="rId7" Type="http://schemas.openxmlformats.org/officeDocument/2006/relationships/slideLayout" Target="../slideLayouts/slideLayout56.xml"/><Relationship Id="rId12" Type="http://schemas.openxmlformats.org/officeDocument/2006/relationships/slideLayout" Target="../slideLayouts/slideLayout61.xml"/><Relationship Id="rId17" Type="http://schemas.openxmlformats.org/officeDocument/2006/relationships/slideLayout" Target="../slideLayouts/slideLayout66.xml"/><Relationship Id="rId25" Type="http://schemas.openxmlformats.org/officeDocument/2006/relationships/slideLayout" Target="../slideLayouts/slideLayout74.xml"/><Relationship Id="rId33" Type="http://schemas.openxmlformats.org/officeDocument/2006/relationships/slideLayout" Target="../slideLayouts/slideLayout82.xml"/><Relationship Id="rId2" Type="http://schemas.openxmlformats.org/officeDocument/2006/relationships/slideLayout" Target="../slideLayouts/slideLayout51.xml"/><Relationship Id="rId16" Type="http://schemas.openxmlformats.org/officeDocument/2006/relationships/slideLayout" Target="../slideLayouts/slideLayout65.xml"/><Relationship Id="rId20" Type="http://schemas.openxmlformats.org/officeDocument/2006/relationships/slideLayout" Target="../slideLayouts/slideLayout69.xml"/><Relationship Id="rId29" Type="http://schemas.openxmlformats.org/officeDocument/2006/relationships/slideLayout" Target="../slideLayouts/slideLayout78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slideLayout" Target="../slideLayouts/slideLayout60.xml"/><Relationship Id="rId24" Type="http://schemas.openxmlformats.org/officeDocument/2006/relationships/slideLayout" Target="../slideLayouts/slideLayout73.xml"/><Relationship Id="rId32" Type="http://schemas.openxmlformats.org/officeDocument/2006/relationships/slideLayout" Target="../slideLayouts/slideLayout81.xml"/><Relationship Id="rId5" Type="http://schemas.openxmlformats.org/officeDocument/2006/relationships/slideLayout" Target="../slideLayouts/slideLayout54.xml"/><Relationship Id="rId15" Type="http://schemas.openxmlformats.org/officeDocument/2006/relationships/slideLayout" Target="../slideLayouts/slideLayout64.xml"/><Relationship Id="rId23" Type="http://schemas.openxmlformats.org/officeDocument/2006/relationships/slideLayout" Target="../slideLayouts/slideLayout72.xml"/><Relationship Id="rId28" Type="http://schemas.openxmlformats.org/officeDocument/2006/relationships/slideLayout" Target="../slideLayouts/slideLayout77.xml"/><Relationship Id="rId10" Type="http://schemas.openxmlformats.org/officeDocument/2006/relationships/slideLayout" Target="../slideLayouts/slideLayout59.xml"/><Relationship Id="rId19" Type="http://schemas.openxmlformats.org/officeDocument/2006/relationships/slideLayout" Target="../slideLayouts/slideLayout68.xml"/><Relationship Id="rId31" Type="http://schemas.openxmlformats.org/officeDocument/2006/relationships/slideLayout" Target="../slideLayouts/slideLayout80.xml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Relationship Id="rId14" Type="http://schemas.openxmlformats.org/officeDocument/2006/relationships/slideLayout" Target="../slideLayouts/slideLayout63.xml"/><Relationship Id="rId22" Type="http://schemas.openxmlformats.org/officeDocument/2006/relationships/slideLayout" Target="../slideLayouts/slideLayout71.xml"/><Relationship Id="rId27" Type="http://schemas.openxmlformats.org/officeDocument/2006/relationships/slideLayout" Target="../slideLayouts/slideLayout76.xml"/><Relationship Id="rId30" Type="http://schemas.openxmlformats.org/officeDocument/2006/relationships/slideLayout" Target="../slideLayouts/slideLayout79.xml"/><Relationship Id="rId35" Type="http://schemas.openxmlformats.org/officeDocument/2006/relationships/image" Target="../media/image14.emf"/><Relationship Id="rId8" Type="http://schemas.openxmlformats.org/officeDocument/2006/relationships/slideLayout" Target="../slideLayouts/slideLayout57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0.xml"/><Relationship Id="rId13" Type="http://schemas.openxmlformats.org/officeDocument/2006/relationships/slideLayout" Target="../slideLayouts/slideLayout95.xml"/><Relationship Id="rId3" Type="http://schemas.openxmlformats.org/officeDocument/2006/relationships/slideLayout" Target="../slideLayouts/slideLayout85.xml"/><Relationship Id="rId7" Type="http://schemas.openxmlformats.org/officeDocument/2006/relationships/slideLayout" Target="../slideLayouts/slideLayout89.xml"/><Relationship Id="rId12" Type="http://schemas.openxmlformats.org/officeDocument/2006/relationships/slideLayout" Target="../slideLayouts/slideLayout94.xml"/><Relationship Id="rId2" Type="http://schemas.openxmlformats.org/officeDocument/2006/relationships/slideLayout" Target="../slideLayouts/slideLayout84.xml"/><Relationship Id="rId16" Type="http://schemas.openxmlformats.org/officeDocument/2006/relationships/image" Target="../media/image14.emf"/><Relationship Id="rId1" Type="http://schemas.openxmlformats.org/officeDocument/2006/relationships/slideLayout" Target="../slideLayouts/slideLayout83.xml"/><Relationship Id="rId6" Type="http://schemas.openxmlformats.org/officeDocument/2006/relationships/slideLayout" Target="../slideLayouts/slideLayout88.xml"/><Relationship Id="rId11" Type="http://schemas.openxmlformats.org/officeDocument/2006/relationships/slideLayout" Target="../slideLayouts/slideLayout93.xml"/><Relationship Id="rId5" Type="http://schemas.openxmlformats.org/officeDocument/2006/relationships/slideLayout" Target="../slideLayouts/slideLayout87.xml"/><Relationship Id="rId15" Type="http://schemas.openxmlformats.org/officeDocument/2006/relationships/theme" Target="../theme/theme7.xml"/><Relationship Id="rId10" Type="http://schemas.openxmlformats.org/officeDocument/2006/relationships/slideLayout" Target="../slideLayouts/slideLayout92.xml"/><Relationship Id="rId4" Type="http://schemas.openxmlformats.org/officeDocument/2006/relationships/slideLayout" Target="../slideLayouts/slideLayout86.xml"/><Relationship Id="rId9" Type="http://schemas.openxmlformats.org/officeDocument/2006/relationships/slideLayout" Target="../slideLayouts/slideLayout91.xml"/><Relationship Id="rId14" Type="http://schemas.openxmlformats.org/officeDocument/2006/relationships/slideLayout" Target="../slideLayouts/slideLayout96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4.xml"/><Relationship Id="rId3" Type="http://schemas.openxmlformats.org/officeDocument/2006/relationships/slideLayout" Target="../slideLayouts/slideLayout99.xml"/><Relationship Id="rId7" Type="http://schemas.openxmlformats.org/officeDocument/2006/relationships/slideLayout" Target="../slideLayouts/slideLayout103.xml"/><Relationship Id="rId2" Type="http://schemas.openxmlformats.org/officeDocument/2006/relationships/slideLayout" Target="../slideLayouts/slideLayout98.xml"/><Relationship Id="rId1" Type="http://schemas.openxmlformats.org/officeDocument/2006/relationships/slideLayout" Target="../slideLayouts/slideLayout97.xml"/><Relationship Id="rId6" Type="http://schemas.openxmlformats.org/officeDocument/2006/relationships/slideLayout" Target="../slideLayouts/slideLayout102.xml"/><Relationship Id="rId11" Type="http://schemas.openxmlformats.org/officeDocument/2006/relationships/image" Target="../media/image14.emf"/><Relationship Id="rId5" Type="http://schemas.openxmlformats.org/officeDocument/2006/relationships/slideLayout" Target="../slideLayouts/slideLayout101.xml"/><Relationship Id="rId10" Type="http://schemas.openxmlformats.org/officeDocument/2006/relationships/theme" Target="../theme/theme8.xml"/><Relationship Id="rId4" Type="http://schemas.openxmlformats.org/officeDocument/2006/relationships/slideLayout" Target="../slideLayouts/slideLayout100.xml"/><Relationship Id="rId9" Type="http://schemas.openxmlformats.org/officeDocument/2006/relationships/slideLayout" Target="../slideLayouts/slideLayout105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emf"/><Relationship Id="rId3" Type="http://schemas.openxmlformats.org/officeDocument/2006/relationships/slideLayout" Target="../slideLayouts/slideLayout108.xml"/><Relationship Id="rId7" Type="http://schemas.openxmlformats.org/officeDocument/2006/relationships/theme" Target="../theme/theme9.xml"/><Relationship Id="rId2" Type="http://schemas.openxmlformats.org/officeDocument/2006/relationships/slideLayout" Target="../slideLayouts/slideLayout107.xml"/><Relationship Id="rId1" Type="http://schemas.openxmlformats.org/officeDocument/2006/relationships/slideLayout" Target="../slideLayouts/slideLayout106.xml"/><Relationship Id="rId6" Type="http://schemas.openxmlformats.org/officeDocument/2006/relationships/slideLayout" Target="../slideLayouts/slideLayout111.xml"/><Relationship Id="rId5" Type="http://schemas.openxmlformats.org/officeDocument/2006/relationships/slideLayout" Target="../slideLayouts/slideLayout110.xml"/><Relationship Id="rId4" Type="http://schemas.openxmlformats.org/officeDocument/2006/relationships/slideLayout" Target="../slideLayouts/slideLayout10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7">
            <a:extLst>
              <a:ext uri="{FF2B5EF4-FFF2-40B4-BE49-F238E27FC236}">
                <a16:creationId xmlns:a16="http://schemas.microsoft.com/office/drawing/2014/main" id="{1786E930-AFA0-0F43-AA19-D751AD4C71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PowerPoint Template</a:t>
            </a:r>
          </a:p>
        </p:txBody>
      </p:sp>
    </p:spTree>
    <p:extLst>
      <p:ext uri="{BB962C8B-B14F-4D97-AF65-F5344CB8AC3E}">
        <p14:creationId xmlns:p14="http://schemas.microsoft.com/office/powerpoint/2010/main" val="24796446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4019" r:id="rId6"/>
    <p:sldLayoutId id="2147483666" r:id="rId7"/>
    <p:sldLayoutId id="2147484018" r:id="rId8"/>
    <p:sldLayoutId id="2147483667" r:id="rId9"/>
    <p:sldLayoutId id="2147484017" r:id="rId10"/>
    <p:sldLayoutId id="2147483668" r:id="rId11"/>
    <p:sldLayoutId id="2147483669" r:id="rId12"/>
    <p:sldLayoutId id="2147484025" r:id="rId13"/>
    <p:sldLayoutId id="2147483670" r:id="rId14"/>
    <p:sldLayoutId id="2147483671" r:id="rId15"/>
    <p:sldLayoutId id="2147483672" r:id="rId16"/>
    <p:sldLayoutId id="2147484026" r:id="rId17"/>
    <p:sldLayoutId id="2147483673" r:id="rId18"/>
    <p:sldLayoutId id="2147484030" r:id="rId19"/>
    <p:sldLayoutId id="2147484031" r:id="rId20"/>
    <p:sldLayoutId id="2147484038" r:id="rId21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900" indent="-3429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800100" marR="0" indent="-342900" algn="l" defTabSz="914400" rtl="0" eaLnBrk="1" fontAlgn="auto" latinLnBrk="0" hangingPunct="1">
        <a:lnSpc>
          <a:spcPct val="100000"/>
        </a:lnSpc>
        <a:spcBef>
          <a:spcPts val="5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4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3429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57350" indent="-28575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114550" indent="-28575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7">
            <a:extLst>
              <a:ext uri="{FF2B5EF4-FFF2-40B4-BE49-F238E27FC236}">
                <a16:creationId xmlns:a16="http://schemas.microsoft.com/office/drawing/2014/main" id="{1786E930-AFA0-0F43-AA19-D751AD4C71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PowerPoint Template</a:t>
            </a:r>
          </a:p>
        </p:txBody>
      </p:sp>
    </p:spTree>
    <p:extLst>
      <p:ext uri="{BB962C8B-B14F-4D97-AF65-F5344CB8AC3E}">
        <p14:creationId xmlns:p14="http://schemas.microsoft.com/office/powerpoint/2010/main" val="13973039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3" r:id="rId1"/>
    <p:sldLayoutId id="2147483874" r:id="rId2"/>
    <p:sldLayoutId id="2147484024" r:id="rId3"/>
    <p:sldLayoutId id="2147483875" r:id="rId4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900" indent="-3429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b="1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800100" marR="0" indent="-342900" algn="l" defTabSz="914400" rtl="0" eaLnBrk="1" fontAlgn="auto" latinLnBrk="0" hangingPunct="1">
        <a:lnSpc>
          <a:spcPct val="90000"/>
        </a:lnSpc>
        <a:spcBef>
          <a:spcPts val="5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400" b="1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2000" b="1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op Nav">
            <a:extLst>
              <a:ext uri="{FF2B5EF4-FFF2-40B4-BE49-F238E27FC236}">
                <a16:creationId xmlns:a16="http://schemas.microsoft.com/office/drawing/2014/main" id="{C306BC44-B557-4D4A-A37C-AC42A50AF0F8}"/>
              </a:ext>
            </a:extLst>
          </p:cNvPr>
          <p:cNvSpPr/>
          <p:nvPr userDrawn="1"/>
        </p:nvSpPr>
        <p:spPr>
          <a:xfrm>
            <a:off x="0" y="0"/>
            <a:ext cx="12192000" cy="728663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McGraw Hill Templat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73649380-23AE-854E-9BC8-848AEBBD080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cGraw Hill Template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cGraw Hill Template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cGraw Hill Template</a:t>
            </a:r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64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8D1F38E-E8A4-5947-852A-218D9AFA28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0408" y="19025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31956023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1" r:id="rId1"/>
    <p:sldLayoutId id="2147483882" r:id="rId2"/>
    <p:sldLayoutId id="2147483925" r:id="rId3"/>
    <p:sldLayoutId id="2147483883" r:id="rId4"/>
    <p:sldLayoutId id="2147483896" r:id="rId5"/>
    <p:sldLayoutId id="2147483898" r:id="rId6"/>
    <p:sldLayoutId id="2147483897" r:id="rId7"/>
    <p:sldLayoutId id="2147483880" r:id="rId8"/>
    <p:sldLayoutId id="2147483869" r:id="rId9"/>
    <p:sldLayoutId id="2147483885" r:id="rId10"/>
    <p:sldLayoutId id="2147483886" r:id="rId11"/>
    <p:sldLayoutId id="2147483888" r:id="rId12"/>
    <p:sldLayoutId id="2147483922" r:id="rId13"/>
    <p:sldLayoutId id="2147483923" r:id="rId14"/>
    <p:sldLayoutId id="2147483924" r:id="rId15"/>
    <p:sldLayoutId id="2147483887" r:id="rId16"/>
    <p:sldLayoutId id="2147483966" r:id="rId17"/>
    <p:sldLayoutId id="2147483967" r:id="rId18"/>
    <p:sldLayoutId id="2147483968" r:id="rId19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6" pos="3840" userDrawn="1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2285" y="315430"/>
            <a:ext cx="11313466" cy="1325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2285" y="1825625"/>
            <a:ext cx="11313466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67B5927-1581-294F-B094-8C1C0027CF4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5684134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406" imgH="403" progId="TCLayout.ActiveDocument.1">
                  <p:embed/>
                </p:oleObj>
              </mc:Choice>
              <mc:Fallback>
                <p:oleObj name="think-cell Slide" r:id="rId17" imgW="406" imgH="40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67B5927-1581-294F-B094-8C1C0027CF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506F0E88-EA22-6F44-8DFA-A231331C1A4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55026A7-14AA-E140-B827-E87D9F8435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r>
              <a:rPr lang="en-US"/>
              <a:t>77</a:t>
            </a:r>
          </a:p>
        </p:txBody>
      </p:sp>
    </p:spTree>
    <p:extLst>
      <p:ext uri="{BB962C8B-B14F-4D97-AF65-F5344CB8AC3E}">
        <p14:creationId xmlns:p14="http://schemas.microsoft.com/office/powerpoint/2010/main" val="32414458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2" r:id="rId1"/>
    <p:sldLayoutId id="2147483791" r:id="rId2"/>
    <p:sldLayoutId id="2147483803" r:id="rId3"/>
    <p:sldLayoutId id="2147483784" r:id="rId4"/>
    <p:sldLayoutId id="2147483785" r:id="rId5"/>
    <p:sldLayoutId id="2147483793" r:id="rId6"/>
    <p:sldLayoutId id="2147483795" r:id="rId7"/>
    <p:sldLayoutId id="2147483796" r:id="rId8"/>
    <p:sldLayoutId id="2147483797" r:id="rId9"/>
    <p:sldLayoutId id="2147483798" r:id="rId10"/>
    <p:sldLayoutId id="2147483799" r:id="rId11"/>
    <p:sldLayoutId id="2147483800" r:id="rId12"/>
    <p:sldLayoutId id="2147483801" r:id="rId13"/>
    <p:sldLayoutId id="2147484037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Magazine Grotesque Bold" pitchFamily="2" charset="77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Magazine Grotesque" pitchFamily="2" charset="77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Magazine Grotesque" pitchFamily="2" charset="77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Magazine Grotesque" pitchFamily="2" charset="77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Magazine Grotesque" pitchFamily="2" charset="77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Magazine Grotesque" pitchFamily="2" charset="77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53B8C5-DBB9-034B-A67F-7C49165D55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2672" y="202497"/>
            <a:ext cx="4114800" cy="3319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McGraw Hill Templat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7047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68688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8" r:id="rId2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6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0574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27432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7047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53B8C5-DBB9-034B-A67F-7C49165D55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2672" y="202497"/>
            <a:ext cx="4114800" cy="3319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721626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2" r:id="rId1"/>
    <p:sldLayoutId id="2147483884" r:id="rId2"/>
    <p:sldLayoutId id="2147484034" r:id="rId3"/>
    <p:sldLayoutId id="2147484033" r:id="rId4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6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0574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27432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EEFEEBE7-2301-DAE8-5FED-C2008DAEA84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600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28575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lvl="0"/>
            <a:endParaRPr lang="en-US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7047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53B8C5-DBB9-034B-A67F-7C49165D55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2672" y="202497"/>
            <a:ext cx="4114800" cy="3319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McGraw Hill Template</a:t>
            </a:r>
          </a:p>
        </p:txBody>
      </p:sp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22128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  <p:sldLayoutId id="2147483725" r:id="rId2"/>
    <p:sldLayoutId id="2147483729" r:id="rId3"/>
    <p:sldLayoutId id="2147483724" r:id="rId4"/>
    <p:sldLayoutId id="2147483726" r:id="rId5"/>
    <p:sldLayoutId id="2147483728" r:id="rId6"/>
    <p:sldLayoutId id="2147483727" r:id="rId7"/>
    <p:sldLayoutId id="2147483730" r:id="rId8"/>
    <p:sldLayoutId id="2147483731" r:id="rId9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900" marR="0" indent="-3429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429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2001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573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1145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0574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27432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53B8C5-DBB9-034B-A67F-7C49165D55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2672" y="202497"/>
            <a:ext cx="4114800" cy="3319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McGraw Hill Templat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7047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/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2864E1BE-276C-2AE9-C09F-9B5AE473E8D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600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28575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22229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851" r:id="rId3"/>
    <p:sldLayoutId id="2147483853" r:id="rId4"/>
    <p:sldLayoutId id="2147483854" r:id="rId5"/>
    <p:sldLayoutId id="2147483823" r:id="rId6"/>
    <p:sldLayoutId id="2147484007" r:id="rId7"/>
    <p:sldLayoutId id="2147484008" r:id="rId8"/>
    <p:sldLayoutId id="2147484009" r:id="rId9"/>
    <p:sldLayoutId id="2147484010" r:id="rId10"/>
    <p:sldLayoutId id="2147484040" r:id="rId11"/>
    <p:sldLayoutId id="2147484041" r:id="rId12"/>
    <p:sldLayoutId id="2147484042" r:id="rId13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800100" marR="0" indent="-3429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2001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573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1145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3431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27432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3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53B8C5-DBB9-034B-A67F-7C49165D55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2672" y="202497"/>
            <a:ext cx="4114800" cy="3319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McGraw Hill Templat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7047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/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AA7FF24D-3083-F0BB-5689-D44065EF227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600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28575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17356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4" r:id="rId1"/>
    <p:sldLayoutId id="2147483755" r:id="rId2"/>
    <p:sldLayoutId id="2147483756" r:id="rId3"/>
    <p:sldLayoutId id="2147483991" r:id="rId4"/>
    <p:sldLayoutId id="2147483992" r:id="rId5"/>
    <p:sldLayoutId id="2147483759" r:id="rId6"/>
    <p:sldLayoutId id="2147483760" r:id="rId7"/>
    <p:sldLayoutId id="2147483761" r:id="rId8"/>
    <p:sldLayoutId id="2147483762" r:id="rId9"/>
    <p:sldLayoutId id="2147483804" r:id="rId10"/>
    <p:sldLayoutId id="2147483807" r:id="rId11"/>
    <p:sldLayoutId id="2147483810" r:id="rId12"/>
    <p:sldLayoutId id="2147483813" r:id="rId13"/>
    <p:sldLayoutId id="2147483805" r:id="rId14"/>
    <p:sldLayoutId id="2147483808" r:id="rId15"/>
    <p:sldLayoutId id="2147483811" r:id="rId16"/>
    <p:sldLayoutId id="2147484028" r:id="rId17"/>
    <p:sldLayoutId id="2147483806" r:id="rId18"/>
    <p:sldLayoutId id="2147483809" r:id="rId19"/>
    <p:sldLayoutId id="2147483812" r:id="rId20"/>
    <p:sldLayoutId id="2147483815" r:id="rId21"/>
    <p:sldLayoutId id="2147483816" r:id="rId22"/>
    <p:sldLayoutId id="2147483817" r:id="rId23"/>
    <p:sldLayoutId id="2147483818" r:id="rId24"/>
    <p:sldLayoutId id="2147483819" r:id="rId25"/>
    <p:sldLayoutId id="2147484027" r:id="rId26"/>
    <p:sldLayoutId id="2147483822" r:id="rId27"/>
    <p:sldLayoutId id="2147484006" r:id="rId28"/>
    <p:sldLayoutId id="2147483994" r:id="rId29"/>
    <p:sldLayoutId id="2147483995" r:id="rId30"/>
    <p:sldLayoutId id="2147483996" r:id="rId31"/>
    <p:sldLayoutId id="2147484003" r:id="rId32"/>
    <p:sldLayoutId id="2147484039" r:id="rId33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800100" marR="0" indent="-3429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2001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573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1145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3431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27432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53B8C5-DBB9-034B-A67F-7C49165D55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2672" y="202497"/>
            <a:ext cx="4114800" cy="3319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McGraw Hill Templat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7047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/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5D7CD0AD-3FBA-9E80-E8BE-87BF97A9B01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600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28575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00731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3" r:id="rId1"/>
    <p:sldLayoutId id="2147484029" r:id="rId2"/>
    <p:sldLayoutId id="2147483764" r:id="rId3"/>
    <p:sldLayoutId id="2147483993" r:id="rId4"/>
    <p:sldLayoutId id="2147483765" r:id="rId5"/>
    <p:sldLayoutId id="2147483766" r:id="rId6"/>
    <p:sldLayoutId id="2147483767" r:id="rId7"/>
    <p:sldLayoutId id="2147483792" r:id="rId8"/>
    <p:sldLayoutId id="2147484035" r:id="rId9"/>
    <p:sldLayoutId id="2147483794" r:id="rId10"/>
    <p:sldLayoutId id="2147483997" r:id="rId11"/>
    <p:sldLayoutId id="2147483998" r:id="rId12"/>
    <p:sldLayoutId id="2147483999" r:id="rId13"/>
    <p:sldLayoutId id="2147483983" r:id="rId14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0574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27432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op Nav">
            <a:extLst>
              <a:ext uri="{FF2B5EF4-FFF2-40B4-BE49-F238E27FC236}">
                <a16:creationId xmlns:a16="http://schemas.microsoft.com/office/drawing/2014/main" id="{C306BC44-B557-4D4A-A37C-AC42A50AF0F8}"/>
              </a:ext>
            </a:extLst>
          </p:cNvPr>
          <p:cNvSpPr/>
          <p:nvPr userDrawn="1"/>
        </p:nvSpPr>
        <p:spPr>
          <a:xfrm>
            <a:off x="0" y="0"/>
            <a:ext cx="12192000" cy="728663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8D1F38E-E8A4-5947-852A-218D9AFA28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0408" y="19025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en-US"/>
              <a:t>McGraw Hill Templat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McGraw Hill Template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A42F38E9-DDDD-6F6F-F59C-5DF1E3FF6F3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600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28575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04879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5" r:id="rId1"/>
    <p:sldLayoutId id="2147483826" r:id="rId2"/>
    <p:sldLayoutId id="2147483827" r:id="rId3"/>
    <p:sldLayoutId id="2147483828" r:id="rId4"/>
    <p:sldLayoutId id="2147483829" r:id="rId5"/>
    <p:sldLayoutId id="2147483830" r:id="rId6"/>
    <p:sldLayoutId id="2147483831" r:id="rId7"/>
    <p:sldLayoutId id="2147483832" r:id="rId8"/>
    <p:sldLayoutId id="2147483833" r:id="rId9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6" pos="3840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op Nav">
            <a:extLst>
              <a:ext uri="{FF2B5EF4-FFF2-40B4-BE49-F238E27FC236}">
                <a16:creationId xmlns:a16="http://schemas.microsoft.com/office/drawing/2014/main" id="{C306BC44-B557-4D4A-A37C-AC42A50AF0F8}"/>
              </a:ext>
            </a:extLst>
          </p:cNvPr>
          <p:cNvSpPr/>
          <p:nvPr userDrawn="1"/>
        </p:nvSpPr>
        <p:spPr>
          <a:xfrm>
            <a:off x="0" y="0"/>
            <a:ext cx="12192000" cy="728663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8D1F38E-E8A4-5947-852A-218D9AFA28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0408" y="19025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en-US"/>
              <a:t>McGraw Hill Templat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McGraw Hill Template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A42F38E9-DDDD-6F6F-F59C-5DF1E3FF6F3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600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28575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03154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5" r:id="rId1"/>
    <p:sldLayoutId id="2147483986" r:id="rId2"/>
    <p:sldLayoutId id="2147483987" r:id="rId3"/>
    <p:sldLayoutId id="2147483988" r:id="rId4"/>
    <p:sldLayoutId id="2147483989" r:id="rId5"/>
    <p:sldLayoutId id="2147483990" r:id="rId6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6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5.xml"/><Relationship Id="rId6" Type="http://schemas.openxmlformats.org/officeDocument/2006/relationships/image" Target="../media/image43.png"/><Relationship Id="rId5" Type="http://schemas.openxmlformats.org/officeDocument/2006/relationships/image" Target="../media/image42.png"/><Relationship Id="rId4" Type="http://schemas.openxmlformats.org/officeDocument/2006/relationships/image" Target="../media/image41.emf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image" Target="../media/image34.png"/><Relationship Id="rId7" Type="http://schemas.microsoft.com/office/2007/relationships/hdphoto" Target="../media/hdphoto1.wdp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image" Target="../media/image38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5.xml"/><Relationship Id="rId4" Type="http://schemas.openxmlformats.org/officeDocument/2006/relationships/image" Target="../media/image44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5.xml"/><Relationship Id="rId4" Type="http://schemas.openxmlformats.org/officeDocument/2006/relationships/image" Target="../media/image46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7" Type="http://schemas.openxmlformats.org/officeDocument/2006/relationships/image" Target="../media/image4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51.png"/><Relationship Id="rId5" Type="http://schemas.openxmlformats.org/officeDocument/2006/relationships/image" Target="../media/image50.png"/><Relationship Id="rId4" Type="http://schemas.openxmlformats.org/officeDocument/2006/relationships/image" Target="../media/image49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image" Target="../media/image34.png"/><Relationship Id="rId7" Type="http://schemas.microsoft.com/office/2007/relationships/hdphoto" Target="../media/hdphoto1.wdp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3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image" Target="../media/image38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1.xml"/><Relationship Id="rId5" Type="http://schemas.openxmlformats.org/officeDocument/2006/relationships/image" Target="../media/image53.png"/><Relationship Id="rId4" Type="http://schemas.openxmlformats.org/officeDocument/2006/relationships/image" Target="../media/image44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image" Target="../media/image34.png"/><Relationship Id="rId7" Type="http://schemas.openxmlformats.org/officeDocument/2006/relationships/image" Target="../media/image37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5.xml"/><Relationship Id="rId6" Type="http://schemas.microsoft.com/office/2007/relationships/hdphoto" Target="../media/hdphoto1.wdp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7" Type="http://schemas.openxmlformats.org/officeDocument/2006/relationships/image" Target="../media/image3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7.xml"/><Relationship Id="rId6" Type="http://schemas.openxmlformats.org/officeDocument/2006/relationships/image" Target="../media/image29.png"/><Relationship Id="rId5" Type="http://schemas.openxmlformats.org/officeDocument/2006/relationships/image" Target="../media/image28.svg"/><Relationship Id="rId4" Type="http://schemas.openxmlformats.org/officeDocument/2006/relationships/image" Target="../media/image2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4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7" Type="http://schemas.openxmlformats.org/officeDocument/2006/relationships/image" Target="../media/image3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5.xml"/><Relationship Id="rId6" Type="http://schemas.openxmlformats.org/officeDocument/2006/relationships/image" Target="../media/image37.png"/><Relationship Id="rId5" Type="http://schemas.microsoft.com/office/2007/relationships/hdphoto" Target="../media/hdphoto1.wdp"/><Relationship Id="rId4" Type="http://schemas.openxmlformats.org/officeDocument/2006/relationships/image" Target="../media/image3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://www.studysharpen.com/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FC5483EE-6588-8FB8-5E2B-7BC513C15E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3004" y="1042819"/>
            <a:ext cx="7425786" cy="690503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z="2000" dirty="0">
                <a:latin typeface="Arial"/>
                <a:cs typeface="Arial"/>
              </a:rPr>
              <a:t>Slides Available for the First Day of Class: Sharpen Companion, IA, Moodle</a:t>
            </a:r>
            <a:endParaRPr lang="en-US" sz="2000" b="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54EA526-D390-E19A-BD6B-0CD609A59E60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>
                <a:latin typeface="Arial"/>
                <a:cs typeface="Arial"/>
              </a:rPr>
              <a:t>McGraw Hill First Day of Class 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BDD4F1-225D-2004-AEB8-C78EE5CDD19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McGraw Hill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7EDD6-0CCE-0360-3FC6-8FB4742E8D0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6866" y="1713604"/>
            <a:ext cx="6888419" cy="996829"/>
          </a:xfrm>
        </p:spPr>
        <p:txBody>
          <a:bodyPr vert="horz" lIns="91440" tIns="45720" rIns="91440" bIns="45720" rtlCol="0" anchor="t">
            <a:noAutofit/>
          </a:bodyPr>
          <a:lstStyle/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67892B8-AB1F-0462-871B-2BFA44332D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86966" y="1951406"/>
            <a:ext cx="8574933" cy="3746527"/>
          </a:xfrm>
        </p:spPr>
        <p:txBody>
          <a:bodyPr vert="horz" lIns="91440" tIns="45720" rIns="91440" bIns="45720" rtlCol="0" anchor="t">
            <a:noAutofit/>
          </a:bodyPr>
          <a:lstStyle/>
          <a:p>
            <a:pPr>
              <a:buFont typeface="Wingdings,Sans-Serif" panose="020B0604020202020204" pitchFamily="34" charset="0"/>
              <a:buChar char="q"/>
            </a:pPr>
            <a:r>
              <a:rPr lang="en-US" sz="1400" b="1" dirty="0">
                <a:latin typeface="Arial"/>
                <a:cs typeface="Arial"/>
              </a:rPr>
              <a:t>McGraw Hill GO </a:t>
            </a:r>
            <a:r>
              <a:rPr lang="en-US" sz="1400" dirty="0">
                <a:latin typeface="Arial"/>
                <a:cs typeface="Arial"/>
              </a:rPr>
              <a:t>2 – 5</a:t>
            </a:r>
            <a:endParaRPr lang="en-US" sz="1400" b="1" dirty="0">
              <a:latin typeface="Arial"/>
              <a:cs typeface="Arial"/>
            </a:endParaRPr>
          </a:p>
          <a:p>
            <a:pPr>
              <a:buFont typeface="Wingdings,Sans-Serif" panose="020B0604020202020204" pitchFamily="34" charset="0"/>
              <a:buChar char="q"/>
            </a:pPr>
            <a:r>
              <a:rPr lang="en-US" sz="1400" b="1" dirty="0">
                <a:latin typeface="Arial"/>
                <a:cs typeface="Arial"/>
              </a:rPr>
              <a:t>McGraw Hill GO and Sharpen</a:t>
            </a:r>
            <a:r>
              <a:rPr lang="en-US" sz="1400" dirty="0">
                <a:latin typeface="Arial"/>
                <a:cs typeface="Arial"/>
              </a:rPr>
              <a:t>:</a:t>
            </a:r>
            <a:endParaRPr lang="en-US" dirty="0"/>
          </a:p>
          <a:p>
            <a:pPr lvl="1">
              <a:spcBef>
                <a:spcPts val="500"/>
              </a:spcBef>
              <a:buFont typeface="Wingdings,Sans-Serif" panose="020B0604020202020204" pitchFamily="34" charset="0"/>
              <a:buChar char="q"/>
            </a:pPr>
            <a:r>
              <a:rPr lang="en-US" sz="1400" dirty="0">
                <a:latin typeface="Arial"/>
                <a:cs typeface="Arial"/>
              </a:rPr>
              <a:t>GO and Sharpen Companion FDOC Slides 6 – 10</a:t>
            </a:r>
            <a:endParaRPr lang="en-US" sz="1400" dirty="0"/>
          </a:p>
          <a:p>
            <a:pPr lvl="1">
              <a:spcBef>
                <a:spcPts val="500"/>
              </a:spcBef>
              <a:buFont typeface="Wingdings,Sans-Serif" panose="020B0604020202020204" pitchFamily="34" charset="0"/>
              <a:buChar char="q"/>
            </a:pPr>
            <a:r>
              <a:rPr lang="en-US" sz="1400" dirty="0">
                <a:latin typeface="Arial"/>
                <a:cs typeface="Arial"/>
              </a:rPr>
              <a:t>GO Purchase Flows</a:t>
            </a:r>
          </a:p>
          <a:p>
            <a:pPr lvl="2">
              <a:spcBef>
                <a:spcPts val="500"/>
              </a:spcBef>
              <a:buFont typeface="Wingdings" panose="020B0604020202020204" pitchFamily="34" charset="0"/>
              <a:buChar char="§"/>
            </a:pPr>
            <a:r>
              <a:rPr lang="en-US" dirty="0">
                <a:latin typeface="Arial"/>
                <a:cs typeface="Arial"/>
              </a:rPr>
              <a:t>IA: GO with an LMS: Moodle Slides 11 – 15</a:t>
            </a:r>
          </a:p>
          <a:p>
            <a:pPr lvl="1">
              <a:spcBef>
                <a:spcPts val="500"/>
              </a:spcBef>
              <a:buFont typeface="Wingdings,Sans-Serif" panose="020B0604020202020204" pitchFamily="34" charset="0"/>
              <a:buChar char="q"/>
            </a:pPr>
            <a:r>
              <a:rPr lang="en-US" sz="1400" dirty="0">
                <a:latin typeface="Arial"/>
                <a:cs typeface="Arial"/>
              </a:rPr>
              <a:t>GO Log-In Flow – Slides 16 – 18</a:t>
            </a:r>
          </a:p>
          <a:p>
            <a:pPr marL="0" indent="0">
              <a:buNone/>
            </a:pP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97989770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4907213-A707-EC3D-86F8-53F5E0D8C4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EF276E3F-33FB-BE4F-F713-E9A4C880F5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>
                <a:latin typeface="Arial"/>
                <a:cs typeface="Arial"/>
              </a:rPr>
              <a:t>Getting Started with GO</a:t>
            </a:r>
            <a:r>
              <a:rPr lang="en-US" b="0" baseline="30000">
                <a:latin typeface="Arial"/>
                <a:cs typeface="Arial"/>
              </a:rPr>
              <a:t>®</a:t>
            </a:r>
            <a:endParaRPr lang="en-US" b="0">
              <a:solidFill>
                <a:srgbClr val="333333"/>
              </a:solidFill>
              <a:latin typeface="Arial"/>
              <a:cs typeface="Arial"/>
            </a:endParaRPr>
          </a:p>
        </p:txBody>
      </p:sp>
      <p:sp>
        <p:nvSpPr>
          <p:cNvPr id="22" name="Title 21">
            <a:extLst>
              <a:ext uri="{FF2B5EF4-FFF2-40B4-BE49-F238E27FC236}">
                <a16:creationId xmlns:a16="http://schemas.microsoft.com/office/drawing/2014/main" id="{4B94B5E8-2BCF-1828-DB35-942AD1F907C9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2383971" y="896257"/>
            <a:ext cx="7614557" cy="40011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ownload the Sharpen College Study App – Scan This Code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/>
              </a:rPr>
              <a:t>​</a:t>
            </a:r>
          </a:p>
        </p:txBody>
      </p:sp>
      <p:pic>
        <p:nvPicPr>
          <p:cNvPr id="7" name="Google Shape;407;p82" descr="Sharpen logo.">
            <a:extLst>
              <a:ext uri="{FF2B5EF4-FFF2-40B4-BE49-F238E27FC236}">
                <a16:creationId xmlns:a16="http://schemas.microsoft.com/office/drawing/2014/main" id="{BCD10E74-E6CC-69D3-273E-3F8B20555A35}"/>
              </a:ext>
            </a:extLst>
          </p:cNvPr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4195975" y="1296154"/>
            <a:ext cx="3566160" cy="895006"/>
          </a:xfrm>
          <a:prstGeom prst="rect">
            <a:avLst/>
          </a:prstGeom>
          <a:noFill/>
          <a:ln>
            <a:noFill/>
          </a:ln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F13EC432-46B9-C464-C356-783397E4CF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195975" y="2114158"/>
            <a:ext cx="3566160" cy="3581973"/>
          </a:xfrm>
          <a:prstGeom prst="rect">
            <a:avLst/>
          </a:prstGeom>
          <a:solidFill>
            <a:srgbClr val="F6F7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Magazine Grotesque" panose="00000500000000000000" pitchFamily="50" charset="0"/>
              <a:ea typeface="+mn-ea"/>
              <a:cs typeface="+mn-cs"/>
            </a:endParaRPr>
          </a:p>
        </p:txBody>
      </p:sp>
      <p:pic>
        <p:nvPicPr>
          <p:cNvPr id="20" name="Picture 19" descr="QR code to download Sharpen.">
            <a:extLst>
              <a:ext uri="{FF2B5EF4-FFF2-40B4-BE49-F238E27FC236}">
                <a16:creationId xmlns:a16="http://schemas.microsoft.com/office/drawing/2014/main" id="{F906D3EC-08BC-DD17-EAD4-7FD955FEB21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95975" y="2042355"/>
            <a:ext cx="3642847" cy="3653776"/>
          </a:xfrm>
          <a:prstGeom prst="rect">
            <a:avLst/>
          </a:prstGeom>
        </p:spPr>
      </p:pic>
      <p:pic>
        <p:nvPicPr>
          <p:cNvPr id="10" name="Picture 10" descr="Apple App Store icon.">
            <a:extLst>
              <a:ext uri="{FF2B5EF4-FFF2-40B4-BE49-F238E27FC236}">
                <a16:creationId xmlns:a16="http://schemas.microsoft.com/office/drawing/2014/main" id="{E6D44E2D-3B65-CCC9-347C-711DC31201D2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60" b="5482"/>
          <a:stretch/>
        </p:blipFill>
        <p:spPr bwMode="auto">
          <a:xfrm>
            <a:off x="3527861" y="5875918"/>
            <a:ext cx="2451194" cy="760743"/>
          </a:xfrm>
          <a:prstGeom prst="round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2" descr="Google Play Store icon.">
            <a:extLst>
              <a:ext uri="{FF2B5EF4-FFF2-40B4-BE49-F238E27FC236}">
                <a16:creationId xmlns:a16="http://schemas.microsoft.com/office/drawing/2014/main" id="{F1A3E2B8-A8B1-7C32-EA1C-7A2D9E7CFB4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50" t="16958" r="10618" b="17565"/>
          <a:stretch/>
        </p:blipFill>
        <p:spPr bwMode="auto">
          <a:xfrm>
            <a:off x="6122230" y="5875918"/>
            <a:ext cx="2451195" cy="760743"/>
          </a:xfrm>
          <a:prstGeom prst="round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076678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CB0B01D-8DBC-9F1E-3B97-FF92CFAB086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D303870-FCA4-E12F-52B4-845ED0C926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GO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F929F3FF-7CC1-D15F-4DB3-B64545C14EDA}"/>
              </a:ext>
            </a:extLst>
          </p:cNvPr>
          <p:cNvSpPr txBox="1">
            <a:spLocks/>
          </p:cNvSpPr>
          <p:nvPr/>
        </p:nvSpPr>
        <p:spPr>
          <a:xfrm>
            <a:off x="98651" y="2662133"/>
            <a:ext cx="3661086" cy="142057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>
                <a:latin typeface="Arial"/>
                <a:cs typeface="Arial"/>
              </a:rPr>
              <a:t>Getting Started with McGraw Hill GO</a:t>
            </a:r>
            <a:r>
              <a:rPr lang="en-US" baseline="30000" dirty="0">
                <a:latin typeface="Arial"/>
                <a:cs typeface="Arial"/>
              </a:rPr>
              <a:t>®</a:t>
            </a:r>
            <a:r>
              <a:rPr lang="en-US" dirty="0">
                <a:latin typeface="Arial"/>
                <a:cs typeface="Arial"/>
              </a:rPr>
              <a:t> </a:t>
            </a:r>
            <a:r>
              <a:rPr lang="en-US" dirty="0">
                <a:solidFill>
                  <a:schemeClr val="accent4">
                    <a:lumMod val="75000"/>
                  </a:schemeClr>
                </a:solidFill>
                <a:latin typeface="Arial"/>
                <a:cs typeface="Arial"/>
              </a:rPr>
              <a:t>and Sharpen</a:t>
            </a:r>
            <a:endParaRPr lang="en-US" baseline="30000" dirty="0">
              <a:solidFill>
                <a:schemeClr val="accent4">
                  <a:lumMod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D10B8464-49AE-C397-7E5D-28CE153B1CCB}"/>
              </a:ext>
            </a:extLst>
          </p:cNvPr>
          <p:cNvSpPr txBox="1">
            <a:spLocks/>
          </p:cNvSpPr>
          <p:nvPr/>
        </p:nvSpPr>
        <p:spPr>
          <a:xfrm>
            <a:off x="101373" y="4090759"/>
            <a:ext cx="3572059" cy="678629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342900" indent="-3429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0100" marR="0" indent="-3429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573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1145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schemeClr val="bg1"/>
                </a:solidFill>
                <a:latin typeface="Arial"/>
                <a:cs typeface="Arial"/>
              </a:rPr>
              <a:t>What to Know on Your</a:t>
            </a:r>
            <a:br>
              <a:rPr lang="en-US"/>
            </a:br>
            <a:r>
              <a:rPr lang="en-US">
                <a:solidFill>
                  <a:schemeClr val="bg1"/>
                </a:solidFill>
                <a:latin typeface="Arial"/>
                <a:cs typeface="Arial"/>
              </a:rPr>
              <a:t>First Day of Clas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8A57D66-C95C-BCF5-7AB1-383423B18FD1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427538" y="1714500"/>
            <a:ext cx="7081837" cy="445135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harpen Companion Purchase Flow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GO: IA Integrated with a Learning Management System (LMS)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F54C2D5-B8ED-AD46-B73E-0BEFDC113D7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0242" t="15990" b="239"/>
          <a:stretch/>
        </p:blipFill>
        <p:spPr>
          <a:xfrm>
            <a:off x="3884263" y="3036615"/>
            <a:ext cx="4832785" cy="3812191"/>
          </a:xfrm>
          <a:prstGeom prst="rect">
            <a:avLst/>
          </a:prstGeom>
        </p:spPr>
      </p:pic>
      <p:pic>
        <p:nvPicPr>
          <p:cNvPr id="18" name="Picture 17" descr="Sharpen on a computer and mobile phone.">
            <a:extLst>
              <a:ext uri="{FF2B5EF4-FFF2-40B4-BE49-F238E27FC236}">
                <a16:creationId xmlns:a16="http://schemas.microsoft.com/office/drawing/2014/main" id="{789516DD-9EA6-7723-D2A1-1EA51E32010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202041" y="2958729"/>
            <a:ext cx="2562641" cy="1959862"/>
          </a:xfrm>
          <a:prstGeom prst="rect">
            <a:avLst/>
          </a:prstGeom>
        </p:spPr>
      </p:pic>
      <p:grpSp>
        <p:nvGrpSpPr>
          <p:cNvPr id="16" name="Group 15" descr="GO on a computer screen.">
            <a:extLst>
              <a:ext uri="{FF2B5EF4-FFF2-40B4-BE49-F238E27FC236}">
                <a16:creationId xmlns:a16="http://schemas.microsoft.com/office/drawing/2014/main" id="{515869D5-0127-9B46-1696-FA5BA5DD02DB}"/>
              </a:ext>
            </a:extLst>
          </p:cNvPr>
          <p:cNvGrpSpPr/>
          <p:nvPr/>
        </p:nvGrpSpPr>
        <p:grpSpPr>
          <a:xfrm>
            <a:off x="7937330" y="4767193"/>
            <a:ext cx="2163756" cy="1870873"/>
            <a:chOff x="2661057" y="4201464"/>
            <a:chExt cx="2937302" cy="2401962"/>
          </a:xfrm>
        </p:grpSpPr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2FDA9513-330B-521C-2313-6AD42A0CACBC}"/>
                </a:ext>
              </a:extLst>
            </p:cNvPr>
            <p:cNvGrpSpPr/>
            <p:nvPr/>
          </p:nvGrpSpPr>
          <p:grpSpPr>
            <a:xfrm>
              <a:off x="2661057" y="4201464"/>
              <a:ext cx="2937302" cy="2401962"/>
              <a:chOff x="-3150430" y="816996"/>
              <a:chExt cx="2937302" cy="2401962"/>
            </a:xfrm>
          </p:grpSpPr>
          <p:pic>
            <p:nvPicPr>
              <p:cNvPr id="14" name="Picture 13" descr="Course with McGraw Hill Connect ...">
                <a:extLst>
                  <a:ext uri="{FF2B5EF4-FFF2-40B4-BE49-F238E27FC236}">
                    <a16:creationId xmlns:a16="http://schemas.microsoft.com/office/drawing/2014/main" id="{403AD63A-4C0A-9B57-AF84-D73B7B22D27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-2975189" y="1058723"/>
                <a:ext cx="2596243" cy="1298121"/>
              </a:xfrm>
              <a:prstGeom prst="rect">
                <a:avLst/>
              </a:prstGeom>
            </p:spPr>
          </p:pic>
          <p:pic>
            <p:nvPicPr>
              <p:cNvPr id="15" name="Picture 2" descr="Mac Icon png download - 1153*945 - Free Transparent Macbook Pro png  Download. - CleanPNG / KissPNG">
                <a:extLst>
                  <a:ext uri="{FF2B5EF4-FFF2-40B4-BE49-F238E27FC236}">
                    <a16:creationId xmlns:a16="http://schemas.microsoft.com/office/drawing/2014/main" id="{43701E6A-6B79-C20B-437A-03A05CDBC01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6" cstate="print">
                <a:extLst>
                  <a:ext uri="{BEBA8EAE-BF5A-486C-A8C5-ECC9F3942E4B}">
                    <a14:imgProps xmlns:a14="http://schemas.microsoft.com/office/drawing/2010/main">
                      <a14:imgLayer r:embed="rId7">
                        <a14:imgEffect>
                          <a14:backgroundRemoval t="2568" b="96216" l="1000" r="99667">
                            <a14:foregroundMark x1="1000" y1="6351" x2="1000" y2="6351"/>
                            <a14:foregroundMark x1="3333" y1="4459" x2="13889" y2="3378"/>
                            <a14:foregroundMark x1="13889" y1="3378" x2="14111" y2="3243"/>
                            <a14:foregroundMark x1="65889" y1="3243" x2="78667" y2="3378"/>
                            <a14:foregroundMark x1="97222" y1="3649" x2="98222" y2="6757"/>
                            <a14:foregroundMark x1="83444" y1="71216" x2="90111" y2="72027"/>
                            <a14:foregroundMark x1="61111" y1="75946" x2="73889" y2="76216"/>
                            <a14:foregroundMark x1="46333" y1="77838" x2="57889" y2="78378"/>
                            <a14:foregroundMark x1="10111" y1="71892" x2="76444" y2="80676"/>
                            <a14:foregroundMark x1="76444" y1="80676" x2="90778" y2="79054"/>
                            <a14:foregroundMark x1="3889" y1="4730" x2="1222" y2="30000"/>
                            <a14:foregroundMark x1="26222" y1="3243" x2="60111" y2="2568"/>
                            <a14:foregroundMark x1="96556" y1="6892" x2="99667" y2="48784"/>
                            <a14:foregroundMark x1="99667" y1="48784" x2="97222" y2="70811"/>
                            <a14:foregroundMark x1="83778" y1="71622" x2="61111" y2="72703"/>
                            <a14:foregroundMark x1="3667" y1="70270" x2="29222" y2="73108"/>
                            <a14:foregroundMark x1="29222" y1="73108" x2="66444" y2="71622"/>
                            <a14:foregroundMark x1="1889" y1="77973" x2="20667" y2="77568"/>
                            <a14:foregroundMark x1="2000" y1="41486" x2="3667" y2="48784"/>
                            <a14:foregroundMark x1="2000" y1="29730" x2="2667" y2="70541"/>
                            <a14:foregroundMark x1="18333" y1="3243" x2="26111" y2="3378"/>
                            <a14:foregroundMark x1="48000" y1="87027" x2="54111" y2="86351"/>
                            <a14:foregroundMark x1="43111" y1="86081" x2="51556" y2="95811"/>
                            <a14:foregroundMark x1="51556" y1="95811" x2="56889" y2="96216"/>
                            <a14:foregroundMark x1="96556" y1="79054" x2="96556" y2="79054"/>
                            <a14:foregroundMark x1="94889" y1="77432" x2="95556" y2="80405"/>
                            <a14:foregroundMark x1="66667" y1="83919" x2="83222" y2="84189"/>
                            <a14:foregroundMark x1="83222" y1="84189" x2="98333" y2="82973"/>
                            <a14:foregroundMark x1="98333" y1="82973" x2="99556" y2="74865"/>
                            <a14:foregroundMark x1="99556" y1="74865" x2="90556" y2="73514"/>
                            <a14:foregroundMark x1="90556" y1="73514" x2="71333" y2="79459"/>
                            <a14:foregroundMark x1="71333" y1="79459" x2="66778" y2="83243"/>
                            <a14:backgroundMark x1="13556" y1="11486" x2="14778" y2="18378"/>
                            <a14:backgroundMark x1="14778" y1="18378" x2="40889" y2="21351"/>
                            <a14:backgroundMark x1="40889" y1="21351" x2="78222" y2="49054"/>
                            <a14:backgroundMark x1="93333" y1="94189" x2="80000" y2="89730"/>
                            <a14:backgroundMark x1="29000" y1="92703" x2="8667" y2="93243"/>
                            <a14:backgroundMark x1="64333" y1="89459" x2="71667" y2="92432"/>
                            <a14:backgroundMark x1="71667" y1="92432" x2="73889" y2="98514"/>
                            <a14:backgroundMark x1="65889" y1="97703" x2="61556" y2="90946"/>
                            <a14:backgroundMark x1="61556" y1="90946" x2="69930" y2="86898"/>
                            <a14:backgroundMark x1="93618" y1="86176" x2="99333" y2="94865"/>
                            <a14:backgroundMark x1="99333" y1="94865" x2="99333" y2="98243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469"/>
              <a:stretch/>
            </p:blipFill>
            <p:spPr bwMode="auto">
              <a:xfrm>
                <a:off x="-3150430" y="816996"/>
                <a:ext cx="2937302" cy="240196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pic>
          <p:nvPicPr>
            <p:cNvPr id="13" name="Picture 12" descr="McGraw Hill GO">
              <a:extLst>
                <a:ext uri="{FF2B5EF4-FFF2-40B4-BE49-F238E27FC236}">
                  <a16:creationId xmlns:a16="http://schemas.microsoft.com/office/drawing/2014/main" id="{977DF234-57AB-427F-DD5C-3A8D77ED0F1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2830575" y="4458092"/>
              <a:ext cx="2588079" cy="124876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6070413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D36C09F-B439-09FE-A7A7-0F8C9627B3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72" y="2716137"/>
            <a:ext cx="2308129" cy="1948908"/>
          </a:xfrm>
        </p:spPr>
        <p:txBody>
          <a:bodyPr/>
          <a:lstStyle/>
          <a:p>
            <a:r>
              <a:rPr lang="en-US">
                <a:latin typeface="Arial"/>
                <a:cs typeface="Arial"/>
              </a:rPr>
              <a:t>Accessing McGraw Hill GO:</a:t>
            </a:r>
            <a:br>
              <a:rPr lang="en-US">
                <a:latin typeface="Arial"/>
                <a:cs typeface="Arial"/>
              </a:rPr>
            </a:br>
            <a:br>
              <a:rPr lang="en-US">
                <a:latin typeface="Arial"/>
                <a:cs typeface="Arial"/>
              </a:rPr>
            </a:br>
            <a:r>
              <a:rPr lang="en-US">
                <a:latin typeface="Arial"/>
                <a:cs typeface="Arial"/>
              </a:rPr>
              <a:t>Mood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6B5F1E2-17B3-A013-C959-291EBE67D7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GO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F4407B9-C4FE-A26A-3361-0E8BFA6B376A}"/>
              </a:ext>
            </a:extLst>
          </p:cNvPr>
          <p:cNvSpPr txBox="1"/>
          <p:nvPr/>
        </p:nvSpPr>
        <p:spPr>
          <a:xfrm>
            <a:off x="4496615" y="1627094"/>
            <a:ext cx="1739152" cy="46166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400" b="1">
                <a:latin typeface="Arial"/>
                <a:ea typeface="Calibri"/>
                <a:cs typeface="Calibri"/>
              </a:rPr>
              <a:t>Step 1</a:t>
            </a:r>
            <a:endParaRPr lang="en-US" sz="2400" b="1">
              <a:latin typeface="Arial"/>
              <a:cs typeface="Arial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77F7F22-620F-D413-39D6-32D26963AC64}"/>
              </a:ext>
            </a:extLst>
          </p:cNvPr>
          <p:cNvSpPr txBox="1"/>
          <p:nvPr/>
        </p:nvSpPr>
        <p:spPr>
          <a:xfrm>
            <a:off x="4500561" y="2138795"/>
            <a:ext cx="6111152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>
                <a:cs typeface="Calibri"/>
              </a:rPr>
              <a:t>To access McGraw Hill GO from your Moodle course, select a McGraw Hill GO assignment from a topic area.</a:t>
            </a:r>
          </a:p>
        </p:txBody>
      </p:sp>
      <p:pic>
        <p:nvPicPr>
          <p:cNvPr id="6" name="Picture 7" descr="Screenshot of Assignment in Moodle platform. Yellow rectangle highlights the assignment.">
            <a:extLst>
              <a:ext uri="{FF2B5EF4-FFF2-40B4-BE49-F238E27FC236}">
                <a16:creationId xmlns:a16="http://schemas.microsoft.com/office/drawing/2014/main" id="{AED3DD70-4BD9-3092-4455-CD3D722EA78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46468" y="2866307"/>
            <a:ext cx="7003472" cy="314295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EC67D148-5F51-CCED-ED95-39D9930622D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18181" y="4328636"/>
            <a:ext cx="1459015" cy="364671"/>
          </a:xfrm>
          <a:prstGeom prst="rect">
            <a:avLst/>
          </a:prstGeom>
          <a:ln>
            <a:solidFill>
              <a:srgbClr val="FFFF00"/>
            </a:solidFill>
          </a:ln>
        </p:spPr>
      </p:pic>
    </p:spTree>
    <p:extLst>
      <p:ext uri="{BB962C8B-B14F-4D97-AF65-F5344CB8AC3E}">
        <p14:creationId xmlns:p14="http://schemas.microsoft.com/office/powerpoint/2010/main" val="100069342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271391D-E201-BA3C-3345-95AE0DBC1ED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F65C88F3-1965-F346-9280-E8054823AF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72" y="2716137"/>
            <a:ext cx="2308129" cy="1948908"/>
          </a:xfrm>
        </p:spPr>
        <p:txBody>
          <a:bodyPr/>
          <a:lstStyle/>
          <a:p>
            <a:r>
              <a:rPr lang="en-US">
                <a:latin typeface="Arial"/>
                <a:cs typeface="Arial"/>
              </a:rPr>
              <a:t>Accessing McGraw Hill GO:</a:t>
            </a:r>
            <a:br>
              <a:rPr lang="en-US">
                <a:latin typeface="Arial"/>
                <a:cs typeface="Arial"/>
              </a:rPr>
            </a:br>
            <a:br>
              <a:rPr lang="en-US">
                <a:latin typeface="Arial"/>
                <a:cs typeface="Arial"/>
              </a:rPr>
            </a:br>
            <a:r>
              <a:rPr lang="en-US">
                <a:latin typeface="Arial"/>
                <a:cs typeface="Arial"/>
              </a:rPr>
              <a:t>Sharpe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15A62B-C6E1-B89F-441E-8073EAD973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GO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FB2B50E-1FF2-7163-E66F-4284DEDDD39A}"/>
              </a:ext>
            </a:extLst>
          </p:cNvPr>
          <p:cNvSpPr txBox="1"/>
          <p:nvPr/>
        </p:nvSpPr>
        <p:spPr>
          <a:xfrm>
            <a:off x="4496615" y="1627094"/>
            <a:ext cx="1739152" cy="46166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400" b="1">
                <a:latin typeface="Arial"/>
                <a:ea typeface="Calibri"/>
                <a:cs typeface="Calibri"/>
              </a:rPr>
              <a:t>Step 2</a:t>
            </a:r>
            <a:endParaRPr lang="en-US" sz="2400" b="1">
              <a:latin typeface="Arial"/>
              <a:cs typeface="Arial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3A73DE0-A8C0-3BAF-9900-1831AF814678}"/>
              </a:ext>
            </a:extLst>
          </p:cNvPr>
          <p:cNvSpPr txBox="1"/>
          <p:nvPr/>
        </p:nvSpPr>
        <p:spPr>
          <a:xfrm>
            <a:off x="4639106" y="2231159"/>
            <a:ext cx="4540971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>
                <a:cs typeface="Calibri"/>
              </a:rPr>
              <a:t>Clicking on a GO assignment launches the Course Access Page. On this page, click </a:t>
            </a:r>
            <a:r>
              <a:rPr lang="en-US" b="1">
                <a:cs typeface="Calibri"/>
              </a:rPr>
              <a:t>Begin</a:t>
            </a:r>
            <a:r>
              <a:rPr lang="en-US">
                <a:cs typeface="Calibri"/>
              </a:rPr>
              <a:t>.  </a:t>
            </a:r>
            <a:endParaRPr lang="en-US">
              <a:ea typeface="Calibri"/>
              <a:cs typeface="Calibri"/>
            </a:endParaRPr>
          </a:p>
        </p:txBody>
      </p:sp>
      <p:pic>
        <p:nvPicPr>
          <p:cNvPr id="6" name="Picture 5" descr="GO registration launch point screenshot.">
            <a:extLst>
              <a:ext uri="{FF2B5EF4-FFF2-40B4-BE49-F238E27FC236}">
                <a16:creationId xmlns:a16="http://schemas.microsoft.com/office/drawing/2014/main" id="{D42719DA-CB14-B2F1-2CD1-152C78E8DC1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99429" y="2858324"/>
            <a:ext cx="5569858" cy="1387929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36A8D537-0422-1948-1A88-5CE3A1124B82}"/>
              </a:ext>
            </a:extLst>
          </p:cNvPr>
          <p:cNvSpPr txBox="1"/>
          <p:nvPr/>
        </p:nvSpPr>
        <p:spPr>
          <a:xfrm>
            <a:off x="5966834" y="4343979"/>
            <a:ext cx="5141335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>
                <a:cs typeface="Calibri"/>
              </a:rPr>
              <a:t>If your assignment launches in a new tab but your browser does not open it, click </a:t>
            </a:r>
            <a:r>
              <a:rPr lang="en-US" b="1">
                <a:cs typeface="Calibri"/>
              </a:rPr>
              <a:t>Launch Assignment</a:t>
            </a:r>
            <a:r>
              <a:rPr lang="en-US">
                <a:cs typeface="Calibri"/>
              </a:rPr>
              <a:t>. </a:t>
            </a:r>
            <a:endParaRPr lang="en-US">
              <a:ea typeface="Calibri"/>
              <a:cs typeface="Calibri"/>
            </a:endParaRPr>
          </a:p>
        </p:txBody>
      </p:sp>
      <p:pic>
        <p:nvPicPr>
          <p:cNvPr id="7" name="Picture 6" descr="GO registration launch point screenshot.">
            <a:extLst>
              <a:ext uri="{FF2B5EF4-FFF2-40B4-BE49-F238E27FC236}">
                <a16:creationId xmlns:a16="http://schemas.microsoft.com/office/drawing/2014/main" id="{43731934-FDE5-C168-3298-69AAFD7F2FD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53546" y="5006666"/>
            <a:ext cx="5391728" cy="1405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975034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B9354D9-0DCE-DC74-DF5F-904D6D7F3E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DEA896C-E43F-0E80-2A13-61EFC6A7B1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GO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8E6AAE8-7644-5D74-44D0-1A9624E9EB5D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7109496" y="1121920"/>
            <a:ext cx="1739152" cy="46166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Step 3: 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BB59C3E4-969E-A24F-06F6-3BA6BC1D8ABF}"/>
              </a:ext>
            </a:extLst>
          </p:cNvPr>
          <p:cNvSpPr txBox="1">
            <a:spLocks/>
          </p:cNvSpPr>
          <p:nvPr/>
        </p:nvSpPr>
        <p:spPr>
          <a:xfrm>
            <a:off x="7106042" y="1718796"/>
            <a:ext cx="4752881" cy="4373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>
                <a:latin typeface="Arial"/>
                <a:cs typeface="Arial"/>
              </a:rPr>
              <a:t>Create your account: Enter email, First and Last Name, create a password and select a security question. </a:t>
            </a:r>
            <a:endParaRPr lang="en-US" sz="1800"/>
          </a:p>
          <a:p>
            <a:pPr marL="0" indent="0">
              <a:buNone/>
            </a:pPr>
            <a:endParaRPr lang="en-US" sz="1800">
              <a:latin typeface="Arial"/>
              <a:cs typeface="Arial"/>
            </a:endParaRPr>
          </a:p>
          <a:p>
            <a:pPr marL="0" indent="0">
              <a:buNone/>
            </a:pPr>
            <a:r>
              <a:rPr lang="en-US" sz="1800">
                <a:latin typeface="Arial"/>
                <a:cs typeface="Arial"/>
              </a:rPr>
              <a:t>We recommend using your school email address when creating an account. </a:t>
            </a:r>
          </a:p>
          <a:p>
            <a:pPr marL="0" indent="0">
              <a:buNone/>
            </a:pPr>
            <a:endParaRPr lang="en-US" sz="1800">
              <a:latin typeface="Arial"/>
              <a:cs typeface="Arial"/>
            </a:endParaRPr>
          </a:p>
          <a:p>
            <a:pPr marL="0" indent="0">
              <a:buNone/>
            </a:pPr>
            <a:r>
              <a:rPr lang="en-US" sz="1800">
                <a:latin typeface="Arial"/>
                <a:cs typeface="Arial"/>
              </a:rPr>
              <a:t>To receive text alerts, enter your mobile number. Agree to the Terms and Conditions and then click </a:t>
            </a:r>
            <a:r>
              <a:rPr lang="en-US" sz="1800" b="1">
                <a:latin typeface="Arial"/>
                <a:cs typeface="Arial"/>
              </a:rPr>
              <a:t>Continue</a:t>
            </a:r>
            <a:r>
              <a:rPr lang="en-US" sz="1800">
                <a:latin typeface="Arial"/>
                <a:cs typeface="Arial"/>
              </a:rPr>
              <a:t>.</a:t>
            </a:r>
            <a:endParaRPr lang="en-US" sz="1800">
              <a:solidFill>
                <a:srgbClr val="333333"/>
              </a:solidFill>
            </a:endParaRPr>
          </a:p>
          <a:p>
            <a:pPr marL="0" indent="0">
              <a:buNone/>
            </a:pPr>
            <a:endParaRPr lang="en-US" sz="1800">
              <a:solidFill>
                <a:srgbClr val="333333"/>
              </a:solidFill>
            </a:endParaRPr>
          </a:p>
          <a:p>
            <a:pPr>
              <a:spcAft>
                <a:spcPts val="900"/>
              </a:spcAft>
            </a:pPr>
            <a:endParaRPr lang="en-US" sz="1800">
              <a:latin typeface="Arial"/>
              <a:cs typeface="Arial"/>
            </a:endParaRPr>
          </a:p>
        </p:txBody>
      </p:sp>
      <p:pic>
        <p:nvPicPr>
          <p:cNvPr id="10" name="Picture 9" descr="Screenshot of GO registration screen.">
            <a:extLst>
              <a:ext uri="{FF2B5EF4-FFF2-40B4-BE49-F238E27FC236}">
                <a16:creationId xmlns:a16="http://schemas.microsoft.com/office/drawing/2014/main" id="{C413E688-116B-2F76-E2FE-F89619D79B6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31056" y="852233"/>
            <a:ext cx="2030269" cy="5845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293991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616466A-E173-0F87-2BF7-D6D218DBCE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ED63932-B3B5-75F2-118A-669E0FF67A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GO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F28F5FF-ED4A-A433-A406-EDF715B62BCB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7109496" y="1121920"/>
            <a:ext cx="2038509" cy="46166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Step 4: 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B9791DF5-9D0F-870A-9AB7-A876969745C4}"/>
              </a:ext>
            </a:extLst>
          </p:cNvPr>
          <p:cNvSpPr txBox="1">
            <a:spLocks/>
          </p:cNvSpPr>
          <p:nvPr/>
        </p:nvSpPr>
        <p:spPr>
          <a:xfrm>
            <a:off x="7648678" y="1718796"/>
            <a:ext cx="4210245" cy="4373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None/>
            </a:pP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Click Complete Registration to access your learning content.</a:t>
            </a:r>
            <a:endParaRPr lang="en-US">
              <a:solidFill>
                <a:srgbClr val="000000"/>
              </a:solidFill>
            </a:endParaRPr>
          </a:p>
          <a:p>
            <a:pPr>
              <a:buNone/>
            </a:pP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Congratulations! You have successfully joined your course.</a:t>
            </a:r>
          </a:p>
          <a:p>
            <a:pPr marL="0" indent="0">
              <a:buNone/>
            </a:pPr>
            <a:endParaRPr lang="en-US" sz="1800" b="1" i="1">
              <a:solidFill>
                <a:srgbClr val="333333"/>
              </a:solidFill>
            </a:endParaRPr>
          </a:p>
          <a:p>
            <a:pPr marL="0" indent="0">
              <a:buNone/>
            </a:pPr>
            <a:endParaRPr lang="en-US" sz="1800">
              <a:solidFill>
                <a:srgbClr val="000000"/>
              </a:solidFill>
            </a:endParaRPr>
          </a:p>
          <a:p>
            <a:pPr>
              <a:spcAft>
                <a:spcPts val="900"/>
              </a:spcAft>
            </a:pPr>
            <a:endParaRPr lang="en-US" sz="1800">
              <a:latin typeface="Arial"/>
              <a:cs typeface="Arial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FF0EC55-CC1F-8413-11CD-851AC84FE4D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39843" y="1939336"/>
            <a:ext cx="3694546" cy="172637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34719F3D-2BC6-2314-7857-A47AA51B31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814779" y="2626936"/>
            <a:ext cx="2020207" cy="215444"/>
          </a:xfrm>
          <a:prstGeom prst="rect">
            <a:avLst/>
          </a:prstGeom>
          <a:solidFill>
            <a:schemeClr val="bg1"/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800" b="1">
                <a:ea typeface="Calibri"/>
                <a:cs typeface="Calibri"/>
              </a:rPr>
              <a:t>Mader, Biology, 14e: Connect with Sharpen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3D67ADF-8CBB-C45F-ADA6-36F1B1B56B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95205" y="1860838"/>
            <a:ext cx="4194589" cy="1877044"/>
          </a:xfrm>
          <a:prstGeom prst="rect">
            <a:avLst/>
          </a:prstGeom>
        </p:spPr>
      </p:pic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B816E811-25B5-168D-8775-C7A5A6B6BB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2357417" y="1799344"/>
            <a:ext cx="1590348" cy="353780"/>
          </a:xfrm>
          <a:prstGeom prst="rect">
            <a:avLst/>
          </a:prstGeom>
          <a:solidFill>
            <a:schemeClr val="accent4"/>
          </a:solidFill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0100" marR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2001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573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1145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3431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i="0" kern="1200">
                <a:solidFill>
                  <a:schemeClr val="tx1"/>
                </a:solidFill>
                <a:latin typeface="Arial Black" panose="020B0604020202020204" pitchFamily="34" charset="0"/>
                <a:ea typeface="+mn-ea"/>
                <a:cs typeface="Arial Black" panose="020B0604020202020204" pitchFamily="34" charset="0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b="1" i="0" kern="1200">
                <a:solidFill>
                  <a:schemeClr val="tx1"/>
                </a:solidFill>
                <a:latin typeface="Arial Black" panose="020B0604020202020204" pitchFamily="34" charset="0"/>
                <a:ea typeface="+mn-ea"/>
                <a:cs typeface="Arial Black" panose="020B0604020202020204" pitchFamily="34" charset="0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>
                <a:latin typeface="Arial"/>
                <a:cs typeface="Arial"/>
              </a:rPr>
              <a:t>IA confirmation page</a:t>
            </a:r>
            <a:endParaRPr lang="en-US"/>
          </a:p>
        </p:txBody>
      </p:sp>
      <p:grpSp>
        <p:nvGrpSpPr>
          <p:cNvPr id="18" name="Group 17" descr="Screenshot of registration">
            <a:extLst>
              <a:ext uri="{FF2B5EF4-FFF2-40B4-BE49-F238E27FC236}">
                <a16:creationId xmlns:a16="http://schemas.microsoft.com/office/drawing/2014/main" id="{8DB68F24-D454-A20C-7FB9-17C3CD73A902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GrpSpPr/>
          <p:nvPr/>
        </p:nvGrpSpPr>
        <p:grpSpPr>
          <a:xfrm>
            <a:off x="718282" y="1667967"/>
            <a:ext cx="4867967" cy="2128206"/>
            <a:chOff x="71735" y="1679513"/>
            <a:chExt cx="7257876" cy="3132659"/>
          </a:xfrm>
        </p:grpSpPr>
        <p:pic>
          <p:nvPicPr>
            <p:cNvPr id="17" name="Picture 16" descr="Screenshot highlighting the Complete Registration button users must click on to join the course.">
              <a:extLst>
                <a:ext uri="{FF2B5EF4-FFF2-40B4-BE49-F238E27FC236}">
                  <a16:creationId xmlns:a16="http://schemas.microsoft.com/office/drawing/2014/main" id="{53A73BE1-CA35-EE81-614F-B5E85F70BF2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97414" y="1679513"/>
              <a:ext cx="7232197" cy="3123747"/>
            </a:xfrm>
            <a:prstGeom prst="rect">
              <a:avLst/>
            </a:prstGeom>
          </p:spPr>
        </p:pic>
        <p:pic>
          <p:nvPicPr>
            <p:cNvPr id="16" name="Picture 15" descr="A screen shot of a course information&#10;&#10;AI-generated content may be incorrect.">
              <a:extLst>
                <a:ext uri="{FF2B5EF4-FFF2-40B4-BE49-F238E27FC236}">
                  <a16:creationId xmlns:a16="http://schemas.microsoft.com/office/drawing/2014/main" id="{5C0093C3-310D-24DB-47C5-770DF18D495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rcRect l="-276" t="26862" r="54146" b="1082"/>
            <a:stretch/>
          </p:blipFill>
          <p:spPr>
            <a:xfrm>
              <a:off x="71735" y="2660974"/>
              <a:ext cx="3154628" cy="2151198"/>
            </a:xfrm>
            <a:prstGeom prst="rect">
              <a:avLst/>
            </a:prstGeom>
          </p:spPr>
        </p:pic>
      </p:grp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9718BB77-C605-3B8F-4A95-97F4667C28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75201" y="2498259"/>
            <a:ext cx="1744889" cy="541971"/>
          </a:xfrm>
          <a:prstGeom prst="roundRect">
            <a:avLst/>
          </a:prstGeom>
          <a:noFill/>
          <a:ln w="57150">
            <a:solidFill>
              <a:srgbClr val="FFC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3" name="Picture 22" descr="Screenshot of GO assignment with Sharpen launch point highlighted. Yellow rectangle highlights the launch point.">
            <a:extLst>
              <a:ext uri="{FF2B5EF4-FFF2-40B4-BE49-F238E27FC236}">
                <a16:creationId xmlns:a16="http://schemas.microsoft.com/office/drawing/2014/main" id="{0D19D7DE-21D6-2DD0-E0E7-61D200A59E8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340760" y="4270293"/>
            <a:ext cx="4497780" cy="2147202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646FD3D9-DF87-4ABB-1EA1-322E2EB838E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727894" y="4269535"/>
            <a:ext cx="764639" cy="193139"/>
          </a:xfrm>
          <a:prstGeom prst="rect">
            <a:avLst/>
          </a:prstGeom>
          <a:ln>
            <a:solidFill>
              <a:srgbClr val="FFFF00"/>
            </a:solidFill>
          </a:ln>
        </p:spPr>
      </p:pic>
    </p:spTree>
    <p:extLst>
      <p:ext uri="{BB962C8B-B14F-4D97-AF65-F5344CB8AC3E}">
        <p14:creationId xmlns:p14="http://schemas.microsoft.com/office/powerpoint/2010/main" val="157615962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43053C7-4288-F227-1F5A-6396310ED9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9A55F64-CB41-CCCB-C2DD-F291C1E527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GO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112465D0-593D-DE3E-1AB8-51E323DCD14B}"/>
              </a:ext>
            </a:extLst>
          </p:cNvPr>
          <p:cNvSpPr txBox="1">
            <a:spLocks/>
          </p:cNvSpPr>
          <p:nvPr/>
        </p:nvSpPr>
        <p:spPr>
          <a:xfrm>
            <a:off x="98651" y="2662133"/>
            <a:ext cx="3661086" cy="142057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>
                <a:latin typeface="Arial"/>
                <a:cs typeface="Arial"/>
              </a:rPr>
              <a:t>Getting Started with McGraw Hill GO</a:t>
            </a:r>
            <a:r>
              <a:rPr lang="en-US" baseline="30000">
                <a:latin typeface="Arial"/>
                <a:cs typeface="Arial"/>
              </a:rPr>
              <a:t>®</a:t>
            </a:r>
            <a:r>
              <a:rPr lang="en-US">
                <a:latin typeface="Arial"/>
                <a:cs typeface="Arial"/>
              </a:rPr>
              <a:t> </a:t>
            </a:r>
            <a:r>
              <a:rPr lang="en-US">
                <a:solidFill>
                  <a:schemeClr val="accent4">
                    <a:lumMod val="75000"/>
                  </a:schemeClr>
                </a:solidFill>
                <a:latin typeface="Arial"/>
                <a:cs typeface="Arial"/>
              </a:rPr>
              <a:t>and Sharpen</a:t>
            </a:r>
            <a:endParaRPr lang="en-US" baseline="30000">
              <a:solidFill>
                <a:schemeClr val="accent4">
                  <a:lumMod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982E217B-A963-9A05-D98F-E91CECEF8C5B}"/>
              </a:ext>
            </a:extLst>
          </p:cNvPr>
          <p:cNvSpPr txBox="1">
            <a:spLocks/>
          </p:cNvSpPr>
          <p:nvPr/>
        </p:nvSpPr>
        <p:spPr>
          <a:xfrm>
            <a:off x="101373" y="4090759"/>
            <a:ext cx="3572059" cy="678629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342900" indent="-3429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0100" marR="0" indent="-3429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573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1145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schemeClr val="bg1"/>
                </a:solidFill>
                <a:latin typeface="Arial"/>
                <a:cs typeface="Arial"/>
              </a:rPr>
              <a:t>What to Know on Your</a:t>
            </a:r>
            <a:br>
              <a:rPr lang="en-US"/>
            </a:br>
            <a:r>
              <a:rPr lang="en-US">
                <a:solidFill>
                  <a:schemeClr val="bg1"/>
                </a:solidFill>
                <a:latin typeface="Arial"/>
                <a:cs typeface="Arial"/>
              </a:rPr>
              <a:t>First Day of Clas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3EB5167-81B5-BB33-AF53-061009336736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427538" y="1714500"/>
            <a:ext cx="7081837" cy="445135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harpen Companion Log-In Flow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GO: IA and non-IA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562F61E-8815-DAF9-A67A-293E3DA5EC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0242" t="13604" b="239"/>
          <a:stretch/>
        </p:blipFill>
        <p:spPr>
          <a:xfrm>
            <a:off x="3884263" y="2927758"/>
            <a:ext cx="4832785" cy="3920799"/>
          </a:xfrm>
          <a:prstGeom prst="rect">
            <a:avLst/>
          </a:prstGeom>
        </p:spPr>
      </p:pic>
      <p:pic>
        <p:nvPicPr>
          <p:cNvPr id="18" name="Picture 17" descr="Sharpen on a computer screen and a mobile phone.">
            <a:extLst>
              <a:ext uri="{FF2B5EF4-FFF2-40B4-BE49-F238E27FC236}">
                <a16:creationId xmlns:a16="http://schemas.microsoft.com/office/drawing/2014/main" id="{C13FE3B2-DAEA-92A9-D36E-8C851A6C257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225131" y="2393001"/>
            <a:ext cx="2585732" cy="2075316"/>
          </a:xfrm>
          <a:prstGeom prst="rect">
            <a:avLst/>
          </a:prstGeom>
        </p:spPr>
      </p:pic>
      <p:grpSp>
        <p:nvGrpSpPr>
          <p:cNvPr id="14" name="Group 13" descr="GO on a computer screen.">
            <a:extLst>
              <a:ext uri="{FF2B5EF4-FFF2-40B4-BE49-F238E27FC236}">
                <a16:creationId xmlns:a16="http://schemas.microsoft.com/office/drawing/2014/main" id="{5DE9C0D9-0E68-5B32-F745-DA78DB67CCBF}"/>
              </a:ext>
            </a:extLst>
          </p:cNvPr>
          <p:cNvGrpSpPr/>
          <p:nvPr/>
        </p:nvGrpSpPr>
        <p:grpSpPr>
          <a:xfrm>
            <a:off x="8122056" y="4559377"/>
            <a:ext cx="2394665" cy="2067145"/>
            <a:chOff x="2661057" y="4201464"/>
            <a:chExt cx="2937302" cy="2401962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34303D7C-4750-8422-E0FE-54220FC145D4}"/>
                </a:ext>
              </a:extLst>
            </p:cNvPr>
            <p:cNvGrpSpPr/>
            <p:nvPr/>
          </p:nvGrpSpPr>
          <p:grpSpPr>
            <a:xfrm>
              <a:off x="2661057" y="4201464"/>
              <a:ext cx="2937302" cy="2401962"/>
              <a:chOff x="-3150430" y="816996"/>
              <a:chExt cx="2937302" cy="2401962"/>
            </a:xfrm>
          </p:grpSpPr>
          <p:pic>
            <p:nvPicPr>
              <p:cNvPr id="11" name="Picture 10" descr="Course with McGraw Hill Connect ...">
                <a:extLst>
                  <a:ext uri="{FF2B5EF4-FFF2-40B4-BE49-F238E27FC236}">
                    <a16:creationId xmlns:a16="http://schemas.microsoft.com/office/drawing/2014/main" id="{3F5CC51C-E329-FA07-8F1F-4B25FB0D619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-2975189" y="1058723"/>
                <a:ext cx="2596243" cy="1298121"/>
              </a:xfrm>
              <a:prstGeom prst="rect">
                <a:avLst/>
              </a:prstGeom>
            </p:spPr>
          </p:pic>
          <p:pic>
            <p:nvPicPr>
              <p:cNvPr id="13" name="Picture 2" descr="Mac Icon png download - 1153*945 - Free Transparent Macbook Pro png  Download. - CleanPNG / KissPNG">
                <a:extLst>
                  <a:ext uri="{FF2B5EF4-FFF2-40B4-BE49-F238E27FC236}">
                    <a16:creationId xmlns:a16="http://schemas.microsoft.com/office/drawing/2014/main" id="{7E63BADF-2609-8745-5C82-66C6D8BC582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6" cstate="print">
                <a:extLst>
                  <a:ext uri="{BEBA8EAE-BF5A-486C-A8C5-ECC9F3942E4B}">
                    <a14:imgProps xmlns:a14="http://schemas.microsoft.com/office/drawing/2010/main">
                      <a14:imgLayer r:embed="rId7">
                        <a14:imgEffect>
                          <a14:backgroundRemoval t="2568" b="96216" l="1000" r="99667">
                            <a14:foregroundMark x1="1000" y1="6351" x2="1000" y2="6351"/>
                            <a14:foregroundMark x1="3333" y1="4459" x2="13889" y2="3378"/>
                            <a14:foregroundMark x1="13889" y1="3378" x2="14111" y2="3243"/>
                            <a14:foregroundMark x1="65889" y1="3243" x2="78667" y2="3378"/>
                            <a14:foregroundMark x1="97222" y1="3649" x2="98222" y2="6757"/>
                            <a14:foregroundMark x1="83444" y1="71216" x2="90111" y2="72027"/>
                            <a14:foregroundMark x1="61111" y1="75946" x2="73889" y2="76216"/>
                            <a14:foregroundMark x1="46333" y1="77838" x2="57889" y2="78378"/>
                            <a14:foregroundMark x1="10111" y1="71892" x2="76444" y2="80676"/>
                            <a14:foregroundMark x1="76444" y1="80676" x2="90778" y2="79054"/>
                            <a14:foregroundMark x1="3889" y1="4730" x2="1222" y2="30000"/>
                            <a14:foregroundMark x1="26222" y1="3243" x2="60111" y2="2568"/>
                            <a14:foregroundMark x1="96556" y1="6892" x2="99667" y2="48784"/>
                            <a14:foregroundMark x1="99667" y1="48784" x2="97222" y2="70811"/>
                            <a14:foregroundMark x1="83778" y1="71622" x2="61111" y2="72703"/>
                            <a14:foregroundMark x1="3667" y1="70270" x2="29222" y2="73108"/>
                            <a14:foregroundMark x1="29222" y1="73108" x2="66444" y2="71622"/>
                            <a14:foregroundMark x1="1889" y1="77973" x2="20667" y2="77568"/>
                            <a14:foregroundMark x1="2000" y1="41486" x2="3667" y2="48784"/>
                            <a14:foregroundMark x1="2000" y1="29730" x2="2667" y2="70541"/>
                            <a14:foregroundMark x1="18333" y1="3243" x2="26111" y2="3378"/>
                            <a14:foregroundMark x1="48000" y1="87027" x2="54111" y2="86351"/>
                            <a14:foregroundMark x1="43111" y1="86081" x2="51556" y2="95811"/>
                            <a14:foregroundMark x1="51556" y1="95811" x2="56889" y2="96216"/>
                            <a14:foregroundMark x1="96556" y1="79054" x2="96556" y2="79054"/>
                            <a14:foregroundMark x1="94889" y1="77432" x2="95556" y2="80405"/>
                            <a14:foregroundMark x1="66667" y1="83919" x2="83222" y2="84189"/>
                            <a14:foregroundMark x1="83222" y1="84189" x2="98333" y2="82973"/>
                            <a14:foregroundMark x1="98333" y1="82973" x2="99556" y2="74865"/>
                            <a14:foregroundMark x1="99556" y1="74865" x2="90556" y2="73514"/>
                            <a14:foregroundMark x1="90556" y1="73514" x2="71333" y2="79459"/>
                            <a14:foregroundMark x1="71333" y1="79459" x2="66778" y2="83243"/>
                            <a14:backgroundMark x1="13556" y1="11486" x2="14778" y2="18378"/>
                            <a14:backgroundMark x1="14778" y1="18378" x2="40889" y2="21351"/>
                            <a14:backgroundMark x1="40889" y1="21351" x2="78222" y2="49054"/>
                            <a14:backgroundMark x1="93333" y1="94189" x2="80000" y2="89730"/>
                            <a14:backgroundMark x1="29000" y1="92703" x2="8667" y2="93243"/>
                            <a14:backgroundMark x1="64333" y1="89459" x2="71667" y2="92432"/>
                            <a14:backgroundMark x1="71667" y1="92432" x2="73889" y2="98514"/>
                            <a14:backgroundMark x1="65889" y1="97703" x2="61556" y2="90946"/>
                            <a14:backgroundMark x1="61556" y1="90946" x2="69930" y2="86898"/>
                            <a14:backgroundMark x1="93618" y1="86176" x2="99333" y2="94865"/>
                            <a14:backgroundMark x1="99333" y1="94865" x2="99333" y2="98243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469"/>
              <a:stretch/>
            </p:blipFill>
            <p:spPr bwMode="auto">
              <a:xfrm>
                <a:off x="-3150430" y="816996"/>
                <a:ext cx="2937302" cy="240196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pic>
          <p:nvPicPr>
            <p:cNvPr id="9" name="Picture 8" descr="McGraw Hill GO">
              <a:extLst>
                <a:ext uri="{FF2B5EF4-FFF2-40B4-BE49-F238E27FC236}">
                  <a16:creationId xmlns:a16="http://schemas.microsoft.com/office/drawing/2014/main" id="{F4F08BEB-7411-BE84-830B-AF30482E69E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2830575" y="4458092"/>
              <a:ext cx="2588079" cy="124876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6849487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30AF2A2-051E-731E-0D20-B3FFE85A5F1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4E6494A-2E0E-F69E-7F5F-8FD2753D89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GO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DE00592-1C2A-A58A-E061-E1412DDD8187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970951" y="943790"/>
            <a:ext cx="3771151" cy="830997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Logging into Sharpen: Registered Students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3E3DEB1-3400-637A-3285-0216CA8754DD}"/>
              </a:ext>
            </a:extLst>
          </p:cNvPr>
          <p:cNvSpPr txBox="1"/>
          <p:nvPr/>
        </p:nvSpPr>
        <p:spPr>
          <a:xfrm>
            <a:off x="6968031" y="1791980"/>
            <a:ext cx="3942773" cy="46166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400" b="1">
                <a:latin typeface="Arial"/>
                <a:ea typeface="Calibri"/>
                <a:cs typeface="Calibri"/>
              </a:rPr>
              <a:t>Step 1: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5113FF0A-86FB-D04E-2B51-6932F4EFA857}"/>
              </a:ext>
            </a:extLst>
          </p:cNvPr>
          <p:cNvSpPr txBox="1">
            <a:spLocks/>
          </p:cNvSpPr>
          <p:nvPr/>
        </p:nvSpPr>
        <p:spPr>
          <a:xfrm>
            <a:off x="6967497" y="2348023"/>
            <a:ext cx="4752881" cy="3647849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b="1">
                <a:latin typeface="Arial"/>
                <a:cs typeface="Arial"/>
              </a:rPr>
              <a:t>Sharpen Launch point</a:t>
            </a:r>
            <a:r>
              <a:rPr lang="en-US" sz="1800">
                <a:latin typeface="Arial"/>
                <a:cs typeface="Arial"/>
              </a:rPr>
              <a:t>: Once you have registered for Sharpen, you will always see the Sharpen launch point at the top of the GO reading screen. Click this to launch Sharpen in a new web window. </a:t>
            </a:r>
            <a:endParaRPr lang="en-US"/>
          </a:p>
          <a:p>
            <a:pPr marL="0" indent="0">
              <a:buNone/>
            </a:pPr>
            <a:endParaRPr lang="en-US"/>
          </a:p>
        </p:txBody>
      </p:sp>
      <p:pic>
        <p:nvPicPr>
          <p:cNvPr id="2" name="Picture 1" descr="Screenshot of GO assignment with Sharpen launch point highlighted. Yellow rectangle highlights the launch point.">
            <a:extLst>
              <a:ext uri="{FF2B5EF4-FFF2-40B4-BE49-F238E27FC236}">
                <a16:creationId xmlns:a16="http://schemas.microsoft.com/office/drawing/2014/main" id="{14594AFD-285D-C7E3-E71B-B5ECF3F747E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4030" y="1015999"/>
            <a:ext cx="2909583" cy="2975431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32B7568-22EE-B0CD-2DB6-C5C3FAC922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05132" y="1052202"/>
            <a:ext cx="764639" cy="193139"/>
          </a:xfrm>
          <a:prstGeom prst="rect">
            <a:avLst/>
          </a:prstGeom>
          <a:ln>
            <a:solidFill>
              <a:srgbClr val="FFFF00"/>
            </a:solidFill>
          </a:ln>
        </p:spPr>
      </p:pic>
      <p:pic>
        <p:nvPicPr>
          <p:cNvPr id="15" name="Picture 14" descr="Sharpen web app that opens after students open Sharpen from GO.">
            <a:extLst>
              <a:ext uri="{FF2B5EF4-FFF2-40B4-BE49-F238E27FC236}">
                <a16:creationId xmlns:a16="http://schemas.microsoft.com/office/drawing/2014/main" id="{DDDEBEC6-0162-C0BC-40CA-C8EB80A1BD6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62857" y="4862678"/>
            <a:ext cx="6966856" cy="1704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779762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BDBB3D-08E0-4F77-D05F-727E0D26A5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19C3C409-5836-B155-D0DA-9EF618E5A3FD}"/>
              </a:ext>
            </a:extLst>
          </p:cNvPr>
          <p:cNvSpPr txBox="1">
            <a:spLocks/>
          </p:cNvSpPr>
          <p:nvPr/>
        </p:nvSpPr>
        <p:spPr>
          <a:xfrm>
            <a:off x="98651" y="2662133"/>
            <a:ext cx="3661086" cy="142057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>
                <a:latin typeface="Arial"/>
                <a:cs typeface="Arial"/>
              </a:rPr>
              <a:t>Getting Started with McGraw Hill </a:t>
            </a:r>
            <a:r>
              <a:rPr lang="en-US">
                <a:solidFill>
                  <a:srgbClr val="FFFFFF"/>
                </a:solidFill>
                <a:latin typeface="Arial"/>
                <a:cs typeface="Arial"/>
              </a:rPr>
              <a:t>GO </a:t>
            </a:r>
            <a:r>
              <a:rPr lang="en-US">
                <a:solidFill>
                  <a:schemeClr val="accent4">
                    <a:lumMod val="75000"/>
                  </a:schemeClr>
                </a:solidFill>
                <a:latin typeface="Arial"/>
                <a:cs typeface="Arial"/>
              </a:rPr>
              <a:t>and Sharpen</a:t>
            </a:r>
            <a:endParaRPr lang="en-US" baseline="30000">
              <a:solidFill>
                <a:schemeClr val="accent4">
                  <a:lumMod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48E89D20-0534-3B8B-5C63-8AD4D1A2904E}"/>
              </a:ext>
            </a:extLst>
          </p:cNvPr>
          <p:cNvSpPr txBox="1">
            <a:spLocks/>
          </p:cNvSpPr>
          <p:nvPr/>
        </p:nvSpPr>
        <p:spPr>
          <a:xfrm>
            <a:off x="101373" y="4090759"/>
            <a:ext cx="3572059" cy="678629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342900" indent="-3429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0100" marR="0" indent="-3429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573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1145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schemeClr val="bg1"/>
                </a:solidFill>
                <a:latin typeface="Arial"/>
                <a:cs typeface="Arial"/>
              </a:rPr>
              <a:t>What to Know on Your</a:t>
            </a:r>
            <a:br>
              <a:rPr lang="en-US"/>
            </a:br>
            <a:r>
              <a:rPr lang="en-US">
                <a:solidFill>
                  <a:schemeClr val="bg1"/>
                </a:solidFill>
                <a:latin typeface="Arial"/>
                <a:cs typeface="Arial"/>
              </a:rPr>
              <a:t>First Day of Clas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A6EE572-9EC7-1B66-88F3-F2C925BC5597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427538" y="1714500"/>
            <a:ext cx="7081837" cy="445135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hank you!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7C413EC-DFE6-8E97-763B-6A458D13D6F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0242" t="15990" b="239"/>
          <a:stretch/>
        </p:blipFill>
        <p:spPr>
          <a:xfrm>
            <a:off x="3884263" y="2239979"/>
            <a:ext cx="5848785" cy="4620372"/>
          </a:xfrm>
          <a:prstGeom prst="rect">
            <a:avLst/>
          </a:prstGeom>
        </p:spPr>
      </p:pic>
      <p:grpSp>
        <p:nvGrpSpPr>
          <p:cNvPr id="20" name="Group 19" descr="GO product on a computer screen.">
            <a:extLst>
              <a:ext uri="{FF2B5EF4-FFF2-40B4-BE49-F238E27FC236}">
                <a16:creationId xmlns:a16="http://schemas.microsoft.com/office/drawing/2014/main" id="{A77C16B1-670C-3BBD-F1A4-E29A6112C429}"/>
              </a:ext>
            </a:extLst>
          </p:cNvPr>
          <p:cNvGrpSpPr/>
          <p:nvPr/>
        </p:nvGrpSpPr>
        <p:grpSpPr>
          <a:xfrm>
            <a:off x="10038602" y="1061105"/>
            <a:ext cx="1932847" cy="1605327"/>
            <a:chOff x="2661057" y="4201464"/>
            <a:chExt cx="2937302" cy="2401962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81AFA19D-826E-1D12-FFC6-A08F73A51745}"/>
                </a:ext>
              </a:extLst>
            </p:cNvPr>
            <p:cNvGrpSpPr/>
            <p:nvPr/>
          </p:nvGrpSpPr>
          <p:grpSpPr>
            <a:xfrm>
              <a:off x="2661057" y="4201464"/>
              <a:ext cx="2937302" cy="2401962"/>
              <a:chOff x="-3150430" y="816996"/>
              <a:chExt cx="2937302" cy="2401962"/>
            </a:xfrm>
          </p:grpSpPr>
          <p:pic>
            <p:nvPicPr>
              <p:cNvPr id="18" name="Picture 17" descr="Course with McGraw Hill Connect ...">
                <a:extLst>
                  <a:ext uri="{FF2B5EF4-FFF2-40B4-BE49-F238E27FC236}">
                    <a16:creationId xmlns:a16="http://schemas.microsoft.com/office/drawing/2014/main" id="{E4C5C342-C48E-7C43-5FFC-1DF28700DF8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-2975189" y="1058723"/>
                <a:ext cx="2596243" cy="1298121"/>
              </a:xfrm>
              <a:prstGeom prst="rect">
                <a:avLst/>
              </a:prstGeom>
            </p:spPr>
          </p:pic>
          <p:pic>
            <p:nvPicPr>
              <p:cNvPr id="19" name="Picture 2" descr="Mac Icon png download - 1153*945 - Free Transparent Macbook Pro png  Download. - CleanPNG / KissPNG">
                <a:extLst>
                  <a:ext uri="{FF2B5EF4-FFF2-40B4-BE49-F238E27FC236}">
                    <a16:creationId xmlns:a16="http://schemas.microsoft.com/office/drawing/2014/main" id="{1C38FA7A-6A16-CEA8-ACBA-8EA024225D7F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5" cstate="print"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backgroundRemoval t="2568" b="96216" l="1000" r="99667">
                            <a14:foregroundMark x1="1000" y1="6351" x2="1000" y2="6351"/>
                            <a14:foregroundMark x1="3333" y1="4459" x2="13889" y2="3378"/>
                            <a14:foregroundMark x1="13889" y1="3378" x2="14111" y2="3243"/>
                            <a14:foregroundMark x1="65889" y1="3243" x2="78667" y2="3378"/>
                            <a14:foregroundMark x1="97222" y1="3649" x2="98222" y2="6757"/>
                            <a14:foregroundMark x1="83444" y1="71216" x2="90111" y2="72027"/>
                            <a14:foregroundMark x1="61111" y1="75946" x2="73889" y2="76216"/>
                            <a14:foregroundMark x1="46333" y1="77838" x2="57889" y2="78378"/>
                            <a14:foregroundMark x1="10111" y1="71892" x2="76444" y2="80676"/>
                            <a14:foregroundMark x1="76444" y1="80676" x2="90778" y2="79054"/>
                            <a14:foregroundMark x1="3889" y1="4730" x2="1222" y2="30000"/>
                            <a14:foregroundMark x1="26222" y1="3243" x2="60111" y2="2568"/>
                            <a14:foregroundMark x1="96556" y1="6892" x2="99667" y2="48784"/>
                            <a14:foregroundMark x1="99667" y1="48784" x2="97222" y2="70811"/>
                            <a14:foregroundMark x1="83778" y1="71622" x2="61111" y2="72703"/>
                            <a14:foregroundMark x1="3667" y1="70270" x2="29222" y2="73108"/>
                            <a14:foregroundMark x1="29222" y1="73108" x2="66444" y2="71622"/>
                            <a14:foregroundMark x1="1889" y1="77973" x2="20667" y2="77568"/>
                            <a14:foregroundMark x1="2000" y1="41486" x2="3667" y2="48784"/>
                            <a14:foregroundMark x1="2000" y1="29730" x2="2667" y2="70541"/>
                            <a14:foregroundMark x1="18333" y1="3243" x2="26111" y2="3378"/>
                            <a14:foregroundMark x1="48000" y1="87027" x2="54111" y2="86351"/>
                            <a14:foregroundMark x1="43111" y1="86081" x2="51556" y2="95811"/>
                            <a14:foregroundMark x1="51556" y1="95811" x2="56889" y2="96216"/>
                            <a14:foregroundMark x1="96556" y1="79054" x2="96556" y2="79054"/>
                            <a14:foregroundMark x1="94889" y1="77432" x2="95556" y2="80405"/>
                            <a14:foregroundMark x1="66667" y1="83919" x2="83222" y2="84189"/>
                            <a14:foregroundMark x1="83222" y1="84189" x2="98333" y2="82973"/>
                            <a14:foregroundMark x1="98333" y1="82973" x2="99556" y2="74865"/>
                            <a14:foregroundMark x1="99556" y1="74865" x2="90556" y2="73514"/>
                            <a14:foregroundMark x1="90556" y1="73514" x2="71333" y2="79459"/>
                            <a14:foregroundMark x1="71333" y1="79459" x2="66778" y2="83243"/>
                            <a14:backgroundMark x1="13556" y1="11486" x2="14778" y2="18378"/>
                            <a14:backgroundMark x1="14778" y1="18378" x2="40889" y2="21351"/>
                            <a14:backgroundMark x1="40889" y1="21351" x2="78222" y2="49054"/>
                            <a14:backgroundMark x1="93333" y1="94189" x2="80000" y2="89730"/>
                            <a14:backgroundMark x1="29000" y1="92703" x2="8667" y2="93243"/>
                            <a14:backgroundMark x1="64333" y1="89459" x2="71667" y2="92432"/>
                            <a14:backgroundMark x1="71667" y1="92432" x2="73889" y2="98514"/>
                            <a14:backgroundMark x1="65889" y1="97703" x2="61556" y2="90946"/>
                            <a14:backgroundMark x1="61556" y1="90946" x2="69930" y2="86898"/>
                            <a14:backgroundMark x1="93618" y1="86176" x2="99333" y2="94865"/>
                            <a14:backgroundMark x1="99333" y1="94865" x2="99333" y2="98243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469"/>
              <a:stretch/>
            </p:blipFill>
            <p:spPr bwMode="auto">
              <a:xfrm>
                <a:off x="-3150430" y="816996"/>
                <a:ext cx="2937302" cy="240196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pic>
          <p:nvPicPr>
            <p:cNvPr id="17" name="Picture 16" descr="McGraw Hill GO">
              <a:extLst>
                <a:ext uri="{FF2B5EF4-FFF2-40B4-BE49-F238E27FC236}">
                  <a16:creationId xmlns:a16="http://schemas.microsoft.com/office/drawing/2014/main" id="{9BFFF1C9-C306-E931-1AFB-10316B9AD2D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830575" y="4458092"/>
              <a:ext cx="2588079" cy="1248763"/>
            </a:xfrm>
            <a:prstGeom prst="rect">
              <a:avLst/>
            </a:prstGeom>
          </p:spPr>
        </p:pic>
      </p:grpSp>
      <p:pic>
        <p:nvPicPr>
          <p:cNvPr id="14" name="Picture 13" descr="Sharpen on a computer screen and a mobile phone.">
            <a:extLst>
              <a:ext uri="{FF2B5EF4-FFF2-40B4-BE49-F238E27FC236}">
                <a16:creationId xmlns:a16="http://schemas.microsoft.com/office/drawing/2014/main" id="{A296A8E8-78EB-8F12-DA69-3DB75E69C93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225131" y="3120364"/>
            <a:ext cx="2077732" cy="1625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220478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3">
            <a:extLst>
              <a:ext uri="{FF2B5EF4-FFF2-40B4-BE49-F238E27FC236}">
                <a16:creationId xmlns:a16="http://schemas.microsoft.com/office/drawing/2014/main" id="{478F6DCE-DF72-5F0A-0F94-2CF017928A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92983" y="1605014"/>
            <a:ext cx="4831300" cy="1420574"/>
          </a:xfrm>
        </p:spPr>
        <p:txBody>
          <a:bodyPr>
            <a:normAutofit/>
          </a:bodyPr>
          <a:lstStyle/>
          <a:p>
            <a:r>
              <a:rPr lang="en-US" dirty="0"/>
              <a:t>McGraw Hill GO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55432091-86BF-0D6D-1795-15930B74F30B}"/>
              </a:ext>
            </a:extLst>
          </p:cNvPr>
          <p:cNvSpPr txBox="1">
            <a:spLocks/>
          </p:cNvSpPr>
          <p:nvPr/>
        </p:nvSpPr>
        <p:spPr>
          <a:xfrm>
            <a:off x="1208087" y="3139278"/>
            <a:ext cx="4533631" cy="72398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0100" marR="0" indent="-3429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573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1145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Student Registration</a:t>
            </a:r>
          </a:p>
        </p:txBody>
      </p:sp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6DEE01A0-A94F-887A-285B-74955E4FCCD3}"/>
              </a:ext>
            </a:extLst>
          </p:cNvPr>
          <p:cNvSpPr txBox="1">
            <a:spLocks/>
          </p:cNvSpPr>
          <p:nvPr/>
        </p:nvSpPr>
        <p:spPr>
          <a:xfrm>
            <a:off x="1208087" y="4122407"/>
            <a:ext cx="4887913" cy="72398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0100" marR="0" indent="-3429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573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1145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For Moodle with Inclusive Access</a:t>
            </a:r>
          </a:p>
        </p:txBody>
      </p:sp>
    </p:spTree>
    <p:extLst>
      <p:ext uri="{BB962C8B-B14F-4D97-AF65-F5344CB8AC3E}">
        <p14:creationId xmlns:p14="http://schemas.microsoft.com/office/powerpoint/2010/main" val="273216623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273A9DF-2010-0D1C-0779-F4DBC4C7C75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8">
            <a:extLst>
              <a:ext uri="{FF2B5EF4-FFF2-40B4-BE49-F238E27FC236}">
                <a16:creationId xmlns:a16="http://schemas.microsoft.com/office/drawing/2014/main" id="{194A9891-A9FE-D631-C933-1462985B967C}"/>
              </a:ext>
            </a:extLst>
          </p:cNvPr>
          <p:cNvSpPr txBox="1"/>
          <p:nvPr/>
        </p:nvSpPr>
        <p:spPr>
          <a:xfrm>
            <a:off x="7340363" y="5316582"/>
            <a:ext cx="3169283" cy="1384995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  <p:txBody>
          <a:bodyPr wrap="square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  <a:lvl2pPr>
              <a:defRPr>
                <a:latin typeface="+mj-lt"/>
                <a:ea typeface="+mj-ea"/>
                <a:cs typeface="+mj-cs"/>
              </a:defRPr>
            </a:lvl2pPr>
            <a:lvl3pPr>
              <a:defRPr>
                <a:latin typeface="+mj-lt"/>
                <a:ea typeface="+mj-ea"/>
                <a:cs typeface="+mj-cs"/>
              </a:defRPr>
            </a:lvl3pPr>
            <a:lvl4pPr>
              <a:defRPr>
                <a:latin typeface="+mj-lt"/>
                <a:ea typeface="+mj-ea"/>
                <a:cs typeface="+mj-cs"/>
              </a:defRPr>
            </a:lvl4pPr>
            <a:lvl5pPr>
              <a:defRPr>
                <a:latin typeface="+mj-lt"/>
                <a:ea typeface="+mj-ea"/>
                <a:cs typeface="+mj-cs"/>
              </a:defRPr>
            </a:lvl5pPr>
            <a:lvl6pPr>
              <a:defRPr>
                <a:latin typeface="+mj-lt"/>
                <a:ea typeface="+mj-ea"/>
                <a:cs typeface="+mj-cs"/>
              </a:defRPr>
            </a:lvl6pPr>
            <a:lvl7pPr>
              <a:defRPr>
                <a:latin typeface="+mj-lt"/>
                <a:ea typeface="+mj-ea"/>
                <a:cs typeface="+mj-cs"/>
              </a:defRPr>
            </a:lvl7pPr>
            <a:lvl8pPr>
              <a:defRPr>
                <a:latin typeface="+mj-lt"/>
                <a:ea typeface="+mj-ea"/>
                <a:cs typeface="+mj-cs"/>
              </a:defRPr>
            </a:lvl8pPr>
            <a:lvl9pPr>
              <a:defRPr>
                <a:latin typeface="+mj-lt"/>
                <a:ea typeface="+mj-ea"/>
                <a:cs typeface="+mj-cs"/>
              </a:defRPr>
            </a:lvl9pPr>
          </a:lstStyle>
          <a:p>
            <a:pPr algn="l" fontAlgn="auto">
              <a:buNone/>
            </a:pPr>
            <a:r>
              <a:rPr lang="en-US" sz="1400" b="0" i="0">
                <a:solidFill>
                  <a:schemeClr val="bg2">
                    <a:lumMod val="10000"/>
                  </a:schemeClr>
                </a:solidFill>
                <a:effectLst/>
                <a:latin typeface="Proxima Nova" panose="02000506030000020004" pitchFamily="50" charset="0"/>
              </a:rPr>
              <a:t>College study app for exam prep that goes with our textbook and McGraw Hill GO, offering flashcards, quizzes, videos, and tools to stay on track.</a:t>
            </a:r>
          </a:p>
          <a:p>
            <a:pPr>
              <a:buNone/>
            </a:pPr>
            <a:br>
              <a:rPr lang="en-US" sz="1400">
                <a:solidFill>
                  <a:schemeClr val="bg2">
                    <a:lumMod val="10000"/>
                  </a:schemeClr>
                </a:solidFill>
                <a:latin typeface="Proxima Nova" panose="02000506030000020004" pitchFamily="50" charset="0"/>
              </a:rPr>
            </a:br>
            <a:endParaRPr lang="en-US" sz="1400">
              <a:solidFill>
                <a:schemeClr val="bg2">
                  <a:lumMod val="10000"/>
                </a:schemeClr>
              </a:solidFill>
              <a:latin typeface="Proxima Nova" panose="02000506030000020004" pitchFamily="50" charset="0"/>
            </a:endParaRPr>
          </a:p>
        </p:txBody>
      </p:sp>
      <p:pic>
        <p:nvPicPr>
          <p:cNvPr id="17" name="Picture 16" descr="Sharpen logo. &#10;">
            <a:extLst>
              <a:ext uri="{FF2B5EF4-FFF2-40B4-BE49-F238E27FC236}">
                <a16:creationId xmlns:a16="http://schemas.microsoft.com/office/drawing/2014/main" id="{737A586C-FC86-0355-2DD4-98C64393719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40363" y="4904713"/>
            <a:ext cx="1397609" cy="350595"/>
          </a:xfrm>
          <a:prstGeom prst="rect">
            <a:avLst/>
          </a:prstGeom>
        </p:spPr>
      </p:pic>
      <p:sp>
        <p:nvSpPr>
          <p:cNvPr id="15" name="TextBox 5">
            <a:extLst>
              <a:ext uri="{FF2B5EF4-FFF2-40B4-BE49-F238E27FC236}">
                <a16:creationId xmlns:a16="http://schemas.microsoft.com/office/drawing/2014/main" id="{F65D68D0-633F-478B-E06C-655ED68CC04C}"/>
              </a:ext>
            </a:extLst>
          </p:cNvPr>
          <p:cNvSpPr txBox="1"/>
          <p:nvPr/>
        </p:nvSpPr>
        <p:spPr>
          <a:xfrm>
            <a:off x="7966741" y="2505670"/>
            <a:ext cx="2288703" cy="1846659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  <p:txBody>
          <a:bodyPr wrap="square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  <a:lvl2pPr>
              <a:defRPr>
                <a:latin typeface="+mj-lt"/>
                <a:ea typeface="+mj-ea"/>
                <a:cs typeface="+mj-cs"/>
              </a:defRPr>
            </a:lvl2pPr>
            <a:lvl3pPr>
              <a:defRPr>
                <a:latin typeface="+mj-lt"/>
                <a:ea typeface="+mj-ea"/>
                <a:cs typeface="+mj-cs"/>
              </a:defRPr>
            </a:lvl3pPr>
            <a:lvl4pPr>
              <a:defRPr>
                <a:latin typeface="+mj-lt"/>
                <a:ea typeface="+mj-ea"/>
                <a:cs typeface="+mj-cs"/>
              </a:defRPr>
            </a:lvl4pPr>
            <a:lvl5pPr>
              <a:defRPr>
                <a:latin typeface="+mj-lt"/>
                <a:ea typeface="+mj-ea"/>
                <a:cs typeface="+mj-cs"/>
              </a:defRPr>
            </a:lvl5pPr>
            <a:lvl6pPr>
              <a:defRPr>
                <a:latin typeface="+mj-lt"/>
                <a:ea typeface="+mj-ea"/>
                <a:cs typeface="+mj-cs"/>
              </a:defRPr>
            </a:lvl6pPr>
            <a:lvl7pPr>
              <a:defRPr>
                <a:latin typeface="+mj-lt"/>
                <a:ea typeface="+mj-ea"/>
                <a:cs typeface="+mj-cs"/>
              </a:defRPr>
            </a:lvl7pPr>
            <a:lvl8pPr>
              <a:defRPr>
                <a:latin typeface="+mj-lt"/>
                <a:ea typeface="+mj-ea"/>
                <a:cs typeface="+mj-cs"/>
              </a:defRPr>
            </a:lvl8pPr>
            <a:lvl9pPr>
              <a:defRPr>
                <a:latin typeface="+mj-lt"/>
                <a:ea typeface="+mj-ea"/>
                <a:cs typeface="+mj-cs"/>
              </a:defRPr>
            </a:lvl9pPr>
          </a:lstStyle>
          <a:p>
            <a:r>
              <a:rPr lang="en-CA" b="1">
                <a:solidFill>
                  <a:schemeClr val="tx1">
                    <a:lumMod val="50000"/>
                  </a:schemeClr>
                </a:solidFill>
                <a:effectLst/>
                <a:latin typeface="Proxima Nova" panose="0200050603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Quiz While You Read</a:t>
            </a:r>
          </a:p>
          <a:p>
            <a:endParaRPr lang="en-CA" sz="800" b="1">
              <a:solidFill>
                <a:schemeClr val="tx1">
                  <a:lumMod val="50000"/>
                </a:schemeClr>
              </a:solidFill>
              <a:effectLst/>
              <a:latin typeface="Proxima Nova" panose="02000506030000020004" pitchFamily="50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CA" sz="1400">
                <a:solidFill>
                  <a:schemeClr val="tx1">
                    <a:lumMod val="50000"/>
                  </a:schemeClr>
                </a:solidFill>
                <a:latin typeface="Proxima Nova" panose="0200050603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Check your understanding and</a:t>
            </a:r>
            <a:r>
              <a:rPr lang="en-CA" sz="1400">
                <a:solidFill>
                  <a:schemeClr val="tx1">
                    <a:lumMod val="50000"/>
                  </a:schemeClr>
                </a:solidFill>
                <a:effectLst/>
                <a:latin typeface="Proxima Nova" panose="0200050603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 flip from readings to assessments to gauge your grasp of the concepts covered.</a:t>
            </a:r>
            <a:endParaRPr lang="en-US" sz="1400">
              <a:solidFill>
                <a:schemeClr val="tx1">
                  <a:lumMod val="50000"/>
                </a:schemeClr>
              </a:solidFill>
              <a:latin typeface="Proxima Nova" panose="02000506030000020004" pitchFamily="50" charset="0"/>
            </a:endParaRPr>
          </a:p>
        </p:txBody>
      </p:sp>
      <p:pic>
        <p:nvPicPr>
          <p:cNvPr id="16" name="Graphic 6" descr="Checklist outline">
            <a:extLst>
              <a:ext uri="{FF2B5EF4-FFF2-40B4-BE49-F238E27FC236}">
                <a16:creationId xmlns:a16="http://schemas.microsoft.com/office/drawing/2014/main" id="{2901980D-679C-C57F-7579-C2940BAA2C1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124769" y="2476609"/>
            <a:ext cx="914400" cy="914400"/>
          </a:xfrm>
          <a:prstGeom prst="rect">
            <a:avLst/>
          </a:prstGeom>
        </p:spPr>
      </p:pic>
      <p:sp>
        <p:nvSpPr>
          <p:cNvPr id="12" name="TextBox 2">
            <a:extLst>
              <a:ext uri="{FF2B5EF4-FFF2-40B4-BE49-F238E27FC236}">
                <a16:creationId xmlns:a16="http://schemas.microsoft.com/office/drawing/2014/main" id="{65E36ACA-E51D-FC04-26EC-403B27C19247}"/>
              </a:ext>
            </a:extLst>
          </p:cNvPr>
          <p:cNvSpPr txBox="1"/>
          <p:nvPr/>
        </p:nvSpPr>
        <p:spPr>
          <a:xfrm>
            <a:off x="4083905" y="4942164"/>
            <a:ext cx="2568966" cy="1569660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  <p:txBody>
          <a:bodyPr wrap="square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  <a:lvl2pPr>
              <a:defRPr>
                <a:latin typeface="+mj-lt"/>
                <a:ea typeface="+mj-ea"/>
                <a:cs typeface="+mj-cs"/>
              </a:defRPr>
            </a:lvl2pPr>
            <a:lvl3pPr>
              <a:defRPr>
                <a:latin typeface="+mj-lt"/>
                <a:ea typeface="+mj-ea"/>
                <a:cs typeface="+mj-cs"/>
              </a:defRPr>
            </a:lvl3pPr>
            <a:lvl4pPr>
              <a:defRPr>
                <a:latin typeface="+mj-lt"/>
                <a:ea typeface="+mj-ea"/>
                <a:cs typeface="+mj-cs"/>
              </a:defRPr>
            </a:lvl4pPr>
            <a:lvl5pPr>
              <a:defRPr>
                <a:latin typeface="+mj-lt"/>
                <a:ea typeface="+mj-ea"/>
                <a:cs typeface="+mj-cs"/>
              </a:defRPr>
            </a:lvl5pPr>
            <a:lvl6pPr>
              <a:defRPr>
                <a:latin typeface="+mj-lt"/>
                <a:ea typeface="+mj-ea"/>
                <a:cs typeface="+mj-cs"/>
              </a:defRPr>
            </a:lvl6pPr>
            <a:lvl7pPr>
              <a:defRPr>
                <a:latin typeface="+mj-lt"/>
                <a:ea typeface="+mj-ea"/>
                <a:cs typeface="+mj-cs"/>
              </a:defRPr>
            </a:lvl7pPr>
            <a:lvl8pPr>
              <a:defRPr>
                <a:latin typeface="+mj-lt"/>
                <a:ea typeface="+mj-ea"/>
                <a:cs typeface="+mj-cs"/>
              </a:defRPr>
            </a:lvl8pPr>
            <a:lvl9pPr>
              <a:defRPr>
                <a:latin typeface="+mj-lt"/>
                <a:ea typeface="+mj-ea"/>
                <a:cs typeface="+mj-cs"/>
              </a:defRPr>
            </a:lvl9pPr>
          </a:lstStyle>
          <a:p>
            <a:r>
              <a:rPr lang="en-CA" b="1">
                <a:solidFill>
                  <a:schemeClr val="tx1">
                    <a:lumMod val="50000"/>
                  </a:schemeClr>
                </a:solidFill>
                <a:effectLst/>
                <a:latin typeface="Proxima Nova" panose="0200050603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On-the-GO Access</a:t>
            </a:r>
          </a:p>
          <a:p>
            <a:endParaRPr lang="en-CA" sz="800" b="1">
              <a:solidFill>
                <a:schemeClr val="tx1">
                  <a:lumMod val="50000"/>
                </a:schemeClr>
              </a:solidFill>
              <a:effectLst/>
              <a:latin typeface="Proxima Nova" panose="02000506030000020004" pitchFamily="50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CA" sz="1400">
                <a:solidFill>
                  <a:schemeClr val="tx1">
                    <a:lumMod val="50000"/>
                  </a:schemeClr>
                </a:solidFill>
                <a:effectLst/>
                <a:latin typeface="Proxima Nova" panose="0200050603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Access your McGraw Hill GO eBook on mobile devices through the free </a:t>
            </a:r>
            <a:r>
              <a:rPr lang="en-CA" sz="1400" b="1">
                <a:solidFill>
                  <a:schemeClr val="tx1">
                    <a:lumMod val="50000"/>
                  </a:schemeClr>
                </a:solidFill>
                <a:effectLst/>
                <a:latin typeface="Proxima Nova" panose="0200050603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ReadAnywhere app </a:t>
            </a:r>
            <a:r>
              <a:rPr lang="en-CA" sz="1400">
                <a:solidFill>
                  <a:schemeClr val="tx1">
                    <a:lumMod val="50000"/>
                  </a:schemeClr>
                </a:solidFill>
                <a:effectLst/>
                <a:latin typeface="Proxima Nova" panose="0200050603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(must activate GO first). </a:t>
            </a:r>
            <a:endParaRPr lang="en-US" sz="1400">
              <a:solidFill>
                <a:schemeClr val="tx1">
                  <a:lumMod val="50000"/>
                </a:schemeClr>
              </a:solidFill>
              <a:latin typeface="Proxima Nova" panose="02000506030000020004" pitchFamily="50" charset="0"/>
            </a:endParaRPr>
          </a:p>
        </p:txBody>
      </p:sp>
      <p:pic>
        <p:nvPicPr>
          <p:cNvPr id="13" name="Picture 12" descr="A logo of a computer">
            <a:extLst>
              <a:ext uri="{FF2B5EF4-FFF2-40B4-BE49-F238E27FC236}">
                <a16:creationId xmlns:a16="http://schemas.microsoft.com/office/drawing/2014/main" id="{A4E0CF43-3E92-C35B-AE46-492387AA19E5}"/>
              </a:ext>
            </a:extLst>
          </p:cNvPr>
          <p:cNvPicPr>
            <a:picLocks noChangeAspect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291415" y="4942164"/>
            <a:ext cx="645644" cy="622381"/>
          </a:xfrm>
          <a:prstGeom prst="rect">
            <a:avLst/>
          </a:prstGeom>
        </p:spPr>
      </p:pic>
      <p:sp>
        <p:nvSpPr>
          <p:cNvPr id="11" name="TextBox 1">
            <a:extLst>
              <a:ext uri="{FF2B5EF4-FFF2-40B4-BE49-F238E27FC236}">
                <a16:creationId xmlns:a16="http://schemas.microsoft.com/office/drawing/2014/main" id="{4A031514-1A38-CFAD-B514-B965E7D0F3C9}"/>
              </a:ext>
            </a:extLst>
          </p:cNvPr>
          <p:cNvSpPr txBox="1"/>
          <p:nvPr/>
        </p:nvSpPr>
        <p:spPr>
          <a:xfrm>
            <a:off x="4083905" y="2505671"/>
            <a:ext cx="2568966" cy="1846659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  <p:txBody>
          <a:bodyPr wrap="square" rtlCol="0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  <a:lvl2pPr>
              <a:defRPr>
                <a:latin typeface="+mj-lt"/>
                <a:ea typeface="+mj-ea"/>
                <a:cs typeface="+mj-cs"/>
              </a:defRPr>
            </a:lvl2pPr>
            <a:lvl3pPr>
              <a:defRPr>
                <a:latin typeface="+mj-lt"/>
                <a:ea typeface="+mj-ea"/>
                <a:cs typeface="+mj-cs"/>
              </a:defRPr>
            </a:lvl3pPr>
            <a:lvl4pPr>
              <a:defRPr>
                <a:latin typeface="+mj-lt"/>
                <a:ea typeface="+mj-ea"/>
                <a:cs typeface="+mj-cs"/>
              </a:defRPr>
            </a:lvl4pPr>
            <a:lvl5pPr>
              <a:defRPr>
                <a:latin typeface="+mj-lt"/>
                <a:ea typeface="+mj-ea"/>
                <a:cs typeface="+mj-cs"/>
              </a:defRPr>
            </a:lvl5pPr>
            <a:lvl6pPr>
              <a:defRPr>
                <a:latin typeface="+mj-lt"/>
                <a:ea typeface="+mj-ea"/>
                <a:cs typeface="+mj-cs"/>
              </a:defRPr>
            </a:lvl6pPr>
            <a:lvl7pPr>
              <a:defRPr>
                <a:latin typeface="+mj-lt"/>
                <a:ea typeface="+mj-ea"/>
                <a:cs typeface="+mj-cs"/>
              </a:defRPr>
            </a:lvl7pPr>
            <a:lvl8pPr>
              <a:defRPr>
                <a:latin typeface="+mj-lt"/>
                <a:ea typeface="+mj-ea"/>
                <a:cs typeface="+mj-cs"/>
              </a:defRPr>
            </a:lvl8pPr>
            <a:lvl9pPr>
              <a:defRPr>
                <a:latin typeface="+mj-lt"/>
                <a:ea typeface="+mj-ea"/>
                <a:cs typeface="+mj-cs"/>
              </a:defRPr>
            </a:lvl9pPr>
          </a:lstStyle>
          <a:p>
            <a:r>
              <a:rPr lang="en-US" b="1">
                <a:solidFill>
                  <a:schemeClr val="tx1">
                    <a:lumMod val="50000"/>
                  </a:schemeClr>
                </a:solidFill>
                <a:latin typeface="Proxima Nova" panose="02000506030000020004" pitchFamily="50" charset="0"/>
              </a:rPr>
              <a:t>Actively Read </a:t>
            </a:r>
            <a:r>
              <a:rPr lang="en-US">
                <a:solidFill>
                  <a:schemeClr val="tx1">
                    <a:lumMod val="50000"/>
                  </a:schemeClr>
                </a:solidFill>
                <a:latin typeface="Proxima Nova" panose="02000506030000020004" pitchFamily="50" charset="0"/>
              </a:rPr>
              <a:t>using the </a:t>
            </a:r>
            <a:r>
              <a:rPr lang="en-US" b="1" u="sng">
                <a:solidFill>
                  <a:schemeClr val="tx1">
                    <a:lumMod val="50000"/>
                  </a:schemeClr>
                </a:solidFill>
                <a:latin typeface="Proxima Nova" panose="02000506030000020004" pitchFamily="50" charset="0"/>
              </a:rPr>
              <a:t>AI Reader</a:t>
            </a:r>
          </a:p>
          <a:p>
            <a:endParaRPr lang="en-US" sz="800" b="1" u="sng">
              <a:solidFill>
                <a:schemeClr val="tx1">
                  <a:lumMod val="50000"/>
                </a:schemeClr>
              </a:solidFill>
              <a:latin typeface="Proxima Nova" panose="02000506030000020004" pitchFamily="50" charset="0"/>
            </a:endParaRPr>
          </a:p>
          <a:p>
            <a:r>
              <a:rPr lang="en-US" sz="1400">
                <a:solidFill>
                  <a:schemeClr val="tx1">
                    <a:lumMod val="50000"/>
                  </a:schemeClr>
                </a:solidFill>
                <a:latin typeface="Proxima Nova" panose="02000506030000020004" pitchFamily="50" charset="0"/>
              </a:rPr>
              <a:t>Leverage the power of our </a:t>
            </a:r>
            <a:r>
              <a:rPr lang="en-US" sz="1400" b="1">
                <a:solidFill>
                  <a:schemeClr val="tx1">
                    <a:lumMod val="50000"/>
                  </a:schemeClr>
                </a:solidFill>
                <a:latin typeface="Proxima Nova" panose="02000506030000020004" pitchFamily="50" charset="0"/>
              </a:rPr>
              <a:t>gen AI tool embedded in the ebook </a:t>
            </a:r>
            <a:r>
              <a:rPr lang="en-US" sz="1400">
                <a:solidFill>
                  <a:schemeClr val="tx1">
                    <a:lumMod val="50000"/>
                  </a:schemeClr>
                </a:solidFill>
                <a:latin typeface="Proxima Nova" panose="02000506030000020004" pitchFamily="50" charset="0"/>
              </a:rPr>
              <a:t>to expand your understanding and boost your curiosity.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002284E-5D84-387E-BD99-B5D36B5600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3268" t="7406" r="11943" b="6060"/>
          <a:stretch/>
        </p:blipFill>
        <p:spPr>
          <a:xfrm>
            <a:off x="3319238" y="2574035"/>
            <a:ext cx="617821" cy="59766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glow rad="101600">
              <a:schemeClr val="accent5">
                <a:satMod val="175000"/>
                <a:alpha val="40000"/>
              </a:schemeClr>
            </a:glow>
            <a:reflection blurRad="12700" stA="38000" endPos="28000" dist="5000" dir="5400000" sy="-100000" algn="bl" rotWithShape="0"/>
          </a:effectLst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E13E2C1-047A-07ED-3079-56F16BD7A0B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234573" y="1726816"/>
            <a:ext cx="8277164" cy="827655"/>
          </a:xfrm>
        </p:spPr>
        <p:txBody>
          <a:bodyPr/>
          <a:lstStyle/>
          <a:p>
            <a:r>
              <a:rPr lang="en-US" b="1" dirty="0">
                <a:solidFill>
                  <a:schemeClr val="bg2">
                    <a:lumMod val="10000"/>
                  </a:schemeClr>
                </a:solidFill>
                <a:latin typeface="Proxima Nova" panose="02000506030000020004" pitchFamily="50" charset="0"/>
              </a:rPr>
              <a:t>McGraw Hill GO is an eBook+ </a:t>
            </a:r>
            <a:r>
              <a:rPr lang="en-US" dirty="0">
                <a:solidFill>
                  <a:schemeClr val="bg2">
                    <a:lumMod val="10000"/>
                  </a:schemeClr>
                </a:solidFill>
                <a:latin typeface="Proxima Nova" panose="02000506030000020004" pitchFamily="50" charset="0"/>
              </a:rPr>
              <a:t>embedded directly in your LMS course – no additional logins or access required</a:t>
            </a:r>
          </a:p>
          <a:p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5BBFBC29-1E2D-D7C9-3965-780E6414B3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4573" y="1084310"/>
            <a:ext cx="5422996" cy="748230"/>
          </a:xfrm>
        </p:spPr>
        <p:txBody>
          <a:bodyPr/>
          <a:lstStyle/>
          <a:p>
            <a:r>
              <a:rPr lang="en-US" dirty="0"/>
              <a:t>What is McGraw Hill GO?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B4C75BC-FC16-E2DC-FCF1-780F75E9F884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7" y="190253"/>
            <a:ext cx="4906113" cy="365125"/>
          </a:xfrm>
        </p:spPr>
        <p:txBody>
          <a:bodyPr/>
          <a:lstStyle/>
          <a:p>
            <a:r>
              <a:rPr lang="en-US" dirty="0">
                <a:solidFill>
                  <a:schemeClr val="tx1">
                    <a:lumMod val="50000"/>
                  </a:schemeClr>
                </a:solidFill>
                <a:latin typeface="Proxima Nova" panose="02000506030000020004" pitchFamily="50" charset="0"/>
                <a:cs typeface="Calibri"/>
              </a:rPr>
              <a:t>Moodle </a:t>
            </a:r>
            <a:r>
              <a:rPr lang="en-US" dirty="0"/>
              <a:t>with Inclusive Access</a:t>
            </a:r>
          </a:p>
        </p:txBody>
      </p:sp>
    </p:spTree>
    <p:extLst>
      <p:ext uri="{BB962C8B-B14F-4D97-AF65-F5344CB8AC3E}">
        <p14:creationId xmlns:p14="http://schemas.microsoft.com/office/powerpoint/2010/main" val="313755013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B689AD-3D61-36EA-2948-6B112DE424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72" y="454986"/>
            <a:ext cx="10515600" cy="1325563"/>
          </a:xfrm>
        </p:spPr>
        <p:txBody>
          <a:bodyPr>
            <a:normAutofit/>
          </a:bodyPr>
          <a:lstStyle/>
          <a:p>
            <a:r>
              <a:rPr lang="en-US" sz="2200" dirty="0"/>
              <a:t>Step 1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884D9E0-C4F1-9D66-8F9F-2C7B5B1221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82672" y="283628"/>
            <a:ext cx="5013278" cy="331932"/>
          </a:xfrm>
        </p:spPr>
        <p:txBody>
          <a:bodyPr/>
          <a:lstStyle/>
          <a:p>
            <a:r>
              <a:rPr lang="en-US" dirty="0">
                <a:solidFill>
                  <a:schemeClr val="tx1">
                    <a:lumMod val="50000"/>
                  </a:schemeClr>
                </a:solidFill>
                <a:latin typeface="Proxima Nova" panose="02000506030000020004" pitchFamily="50" charset="0"/>
                <a:cs typeface="Calibri"/>
              </a:rPr>
              <a:t>Moodle </a:t>
            </a:r>
            <a:r>
              <a:rPr lang="en-US" dirty="0"/>
              <a:t>with Inclusive Access</a:t>
            </a:r>
          </a:p>
          <a:p>
            <a:endParaRPr lang="en-US" dirty="0"/>
          </a:p>
        </p:txBody>
      </p:sp>
      <p:pic>
        <p:nvPicPr>
          <p:cNvPr id="4" name="Picture 3" descr="Student in computer lab typing on laptop.">
            <a:extLst>
              <a:ext uri="{FF2B5EF4-FFF2-40B4-BE49-F238E27FC236}">
                <a16:creationId xmlns:a16="http://schemas.microsoft.com/office/drawing/2014/main" id="{AF3AFC82-7C61-DC66-C643-548367B3DB8F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750407" y="1776412"/>
            <a:ext cx="3305175" cy="330517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AA45F9B9-E32E-C37A-7B68-4ED6AC21FF2D}"/>
              </a:ext>
            </a:extLst>
          </p:cNvPr>
          <p:cNvSpPr txBox="1"/>
          <p:nvPr/>
        </p:nvSpPr>
        <p:spPr>
          <a:xfrm>
            <a:off x="4517712" y="1857543"/>
            <a:ext cx="692388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tx1">
                    <a:lumMod val="50000"/>
                  </a:schemeClr>
                </a:solidFill>
                <a:latin typeface="Proxima Nova" panose="02000506030000020004" pitchFamily="50" charset="0"/>
                <a:cs typeface="Calibri"/>
              </a:rPr>
              <a:t>To access McGraw Hill GO, select a GO assignment in the Content area of your Moodle course.</a:t>
            </a:r>
            <a:endParaRPr lang="en-US" dirty="0">
              <a:solidFill>
                <a:schemeClr val="tx1">
                  <a:lumMod val="50000"/>
                </a:schemeClr>
              </a:solidFill>
              <a:latin typeface="Proxima Nova" panose="02000506030000020004" pitchFamily="50" charset="0"/>
            </a:endParaRPr>
          </a:p>
        </p:txBody>
      </p:sp>
      <p:pic>
        <p:nvPicPr>
          <p:cNvPr id="9" name="Picture 7" descr="A screenshot of a computer">
            <a:extLst>
              <a:ext uri="{FF2B5EF4-FFF2-40B4-BE49-F238E27FC236}">
                <a16:creationId xmlns:a16="http://schemas.microsoft.com/office/drawing/2014/main" id="{3BDA1BA0-E396-8388-AF0A-B37A11C203BA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18629" t="9061" r="20642" b="4550"/>
          <a:stretch/>
        </p:blipFill>
        <p:spPr>
          <a:xfrm>
            <a:off x="5695950" y="2992051"/>
            <a:ext cx="4267201" cy="272415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80878593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79E7C4-3776-7E45-0132-1F4CB8DED2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30D99D-2C1B-FDCE-788D-C0A7FF819F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72" y="454986"/>
            <a:ext cx="10515600" cy="1325563"/>
          </a:xfrm>
        </p:spPr>
        <p:txBody>
          <a:bodyPr>
            <a:normAutofit/>
          </a:bodyPr>
          <a:lstStyle/>
          <a:p>
            <a:r>
              <a:rPr lang="en-US" sz="2200" dirty="0"/>
              <a:t>Step 2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45DF7C4-1F6B-4888-0BC4-462CFB4954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82672" y="283628"/>
            <a:ext cx="5241050" cy="331932"/>
          </a:xfrm>
        </p:spPr>
        <p:txBody>
          <a:bodyPr/>
          <a:lstStyle/>
          <a:p>
            <a:r>
              <a:rPr lang="en-US" dirty="0">
                <a:solidFill>
                  <a:schemeClr val="tx1">
                    <a:lumMod val="50000"/>
                  </a:schemeClr>
                </a:solidFill>
                <a:latin typeface="Proxima Nova" panose="02000506030000020004" pitchFamily="50" charset="0"/>
                <a:cs typeface="Calibri"/>
              </a:rPr>
              <a:t>Moodle </a:t>
            </a:r>
            <a:r>
              <a:rPr lang="en-US" dirty="0"/>
              <a:t>with Inclusive Access</a:t>
            </a:r>
          </a:p>
          <a:p>
            <a:endParaRPr lang="en-US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6084FAEE-FF49-B11E-3E7A-7B4B3400ECD7}"/>
              </a:ext>
            </a:extLst>
          </p:cNvPr>
          <p:cNvSpPr txBox="1">
            <a:spLocks/>
          </p:cNvSpPr>
          <p:nvPr/>
        </p:nvSpPr>
        <p:spPr>
          <a:xfrm>
            <a:off x="682671" y="1780549"/>
            <a:ext cx="10609105" cy="4373563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0100" marR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2001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573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1145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3431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i="0" kern="1200">
                <a:solidFill>
                  <a:schemeClr val="tx1"/>
                </a:solidFill>
                <a:latin typeface="Arial Black" panose="020B0604020202020204" pitchFamily="34" charset="0"/>
                <a:ea typeface="+mn-ea"/>
                <a:cs typeface="Arial Black" panose="020B0604020202020204" pitchFamily="34" charset="0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b="1" i="0" kern="1200">
                <a:solidFill>
                  <a:schemeClr val="tx1"/>
                </a:solidFill>
                <a:latin typeface="Arial Black" panose="020B0604020202020204" pitchFamily="34" charset="0"/>
                <a:ea typeface="+mn-ea"/>
                <a:cs typeface="Arial Black" panose="020B0604020202020204" pitchFamily="34" charset="0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900"/>
              </a:spcAft>
            </a:pPr>
            <a:r>
              <a:rPr lang="en-US" dirty="0">
                <a:latin typeface="Proxima Nova" panose="02000506030000020004" pitchFamily="50" charset="0"/>
                <a:cs typeface="Arial"/>
              </a:rPr>
              <a:t>Select Complete Registration and then you can access your first McGraw Hill GO assignment!</a:t>
            </a:r>
            <a:endParaRPr lang="en-US" dirty="0">
              <a:latin typeface="Proxima Nova" panose="02000506030000020004" pitchFamily="50" charset="0"/>
            </a:endParaRPr>
          </a:p>
        </p:txBody>
      </p:sp>
      <p:pic>
        <p:nvPicPr>
          <p:cNvPr id="4" name="Picture 6" descr="A close-up of a course information">
            <a:extLst>
              <a:ext uri="{FF2B5EF4-FFF2-40B4-BE49-F238E27FC236}">
                <a16:creationId xmlns:a16="http://schemas.microsoft.com/office/drawing/2014/main" id="{1841F5AC-D1DF-0A22-4553-CC8EEF57019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05906" y="2764201"/>
            <a:ext cx="5869131" cy="24062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84424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A813C9-3AD3-29F5-48C7-E656383877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69080" y="1718704"/>
            <a:ext cx="4831300" cy="1420574"/>
          </a:xfrm>
        </p:spPr>
        <p:txBody>
          <a:bodyPr>
            <a:normAutofit/>
          </a:bodyPr>
          <a:lstStyle/>
          <a:p>
            <a:r>
              <a:rPr lang="en-US">
                <a:latin typeface="Arial"/>
                <a:cs typeface="Arial"/>
              </a:rPr>
              <a:t>Getting Started with McGraw Hill GO</a:t>
            </a:r>
            <a:r>
              <a:rPr lang="en-US" sz="2100" baseline="30000">
                <a:latin typeface="Arial"/>
                <a:cs typeface="Arial"/>
              </a:rPr>
              <a:t>® </a:t>
            </a:r>
            <a:br>
              <a:rPr lang="en-US" sz="2100" baseline="30000">
                <a:latin typeface="Arial"/>
                <a:cs typeface="Arial"/>
              </a:rPr>
            </a:br>
            <a:r>
              <a:rPr lang="en-US">
                <a:solidFill>
                  <a:schemeClr val="accent4">
                    <a:lumMod val="75000"/>
                  </a:schemeClr>
                </a:solidFill>
              </a:rPr>
              <a:t>and Sharpen</a:t>
            </a:r>
            <a:r>
              <a:rPr lang="en-US">
                <a:latin typeface="Arial"/>
                <a:cs typeface="Arial"/>
              </a:rPr>
              <a:t> </a:t>
            </a:r>
            <a:r>
              <a:rPr lang="en-US" baseline="30000">
                <a:latin typeface="Arial"/>
                <a:cs typeface="Arial"/>
              </a:rPr>
              <a:t>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0CEB6F2-1D61-AD49-4BF3-123CE624DBE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208087" y="3101973"/>
            <a:ext cx="4533631" cy="723986"/>
          </a:xfrm>
        </p:spPr>
        <p:txBody>
          <a:bodyPr/>
          <a:lstStyle/>
          <a:p>
            <a:r>
              <a:rPr lang="en-US"/>
              <a:t>What to Know on Your </a:t>
            </a:r>
            <a:br>
              <a:rPr lang="en-US"/>
            </a:br>
            <a:r>
              <a:rPr lang="en-US"/>
              <a:t>First Day of Clas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2CF8DC1-294A-3B17-394F-77CB7480A2F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2918B3A-34B7-765B-6FFF-954DC31DBED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75977C7-63D2-A57C-FF70-D762B6C44A6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0251"/>
          <a:stretch/>
        </p:blipFill>
        <p:spPr>
          <a:xfrm>
            <a:off x="5671335" y="583701"/>
            <a:ext cx="6664502" cy="62742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367422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7729200-C3FB-09B6-A40C-FD5C04487E1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EA8DB61-D5CC-B122-DEB6-DDFE19AFA4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3873" y="1020117"/>
            <a:ext cx="10750091" cy="365379"/>
          </a:xfrm>
        </p:spPr>
        <p:txBody>
          <a:bodyPr>
            <a:normAutofit fontScale="90000"/>
          </a:bodyPr>
          <a:lstStyle/>
          <a:p>
            <a:r>
              <a:rPr lang="en-US">
                <a:latin typeface="Arial"/>
                <a:cs typeface="Arial"/>
              </a:rPr>
              <a:t>Students: What is GO with Sharpen?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36FA738-FF10-8511-66C5-0167282DB02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7634" y="1736496"/>
            <a:ext cx="10706330" cy="4374092"/>
          </a:xfrm>
        </p:spPr>
        <p:txBody>
          <a:bodyPr vert="horz" lIns="91440" tIns="45720" rIns="91440" bIns="45720" rtlCol="0" anchor="t">
            <a:normAutofit/>
          </a:bodyPr>
          <a:lstStyle/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Sharpen is McGraw Hill's newest study tool: an exam prep app included in GO! By using both GO and Sharpen, you can master your course material and ace your exams. </a:t>
            </a:r>
            <a:endParaRPr lang="en-US"/>
          </a:p>
          <a:p>
            <a:pPr>
              <a:spcAft>
                <a:spcPts val="600"/>
              </a:spcAft>
            </a:pPr>
            <a:endParaRPr lang="en-US" b="1">
              <a:latin typeface="Arial"/>
              <a:cs typeface="Arial"/>
            </a:endParaRPr>
          </a:p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Sharpen has hundreds of bite-sized study tools customized for your course so you can learn in just 5 minutes. The app delivers personalized  study tips based on your in-app performance, so you can see what you know and what you need to review.</a:t>
            </a:r>
            <a:endParaRPr lang="en-US"/>
          </a:p>
          <a:p>
            <a:pPr>
              <a:spcAft>
                <a:spcPts val="600"/>
              </a:spcAft>
            </a:pPr>
            <a:endParaRPr lang="en-US" b="1">
              <a:latin typeface="Arial"/>
              <a:cs typeface="Arial"/>
            </a:endParaRPr>
          </a:p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Since Sharpen is made by McGraw Hill, you can trust its content: accurate and focused on the most important concepts. You can launch Sharpen with one click from GO or log into </a:t>
            </a:r>
            <a:r>
              <a:rPr lang="en-US" b="1" err="1">
                <a:latin typeface="Arial"/>
                <a:cs typeface="Arial"/>
              </a:rPr>
              <a:t>Sharpen's</a:t>
            </a:r>
            <a:r>
              <a:rPr lang="en-US" b="1">
                <a:latin typeface="Arial"/>
                <a:cs typeface="Arial"/>
              </a:rPr>
              <a:t> web or mobile apps.</a:t>
            </a:r>
            <a:endParaRPr lang="en-US">
              <a:solidFill>
                <a:srgbClr val="000000"/>
              </a:solidFill>
              <a:latin typeface="Arial"/>
              <a:cs typeface="Arial"/>
            </a:endParaRPr>
          </a:p>
          <a:p>
            <a:pPr>
              <a:spcAft>
                <a:spcPts val="600"/>
              </a:spcAft>
            </a:pPr>
            <a:endParaRPr lang="en-US" b="1">
              <a:latin typeface="Arial"/>
              <a:cs typeface="Arial"/>
            </a:endParaRP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DFAF4BB5-C741-3C28-638E-3A715D44CFF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>
                <a:latin typeface="Arial"/>
                <a:cs typeface="Arial"/>
              </a:rPr>
              <a:t>Getting Started with GO</a:t>
            </a:r>
            <a:r>
              <a:rPr lang="en-US" b="0" baseline="30000">
                <a:latin typeface="Arial"/>
                <a:cs typeface="Arial"/>
              </a:rPr>
              <a:t>®</a:t>
            </a:r>
            <a:endParaRPr lang="en-US" b="0">
              <a:latin typeface="Arial"/>
              <a:cs typeface="Arial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79A7BC40-62AA-C453-DD5C-16670191D2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564152" y="5040163"/>
            <a:ext cx="1943966" cy="109450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3" name="Group 22" descr="GO on a computer screen.">
            <a:extLst>
              <a:ext uri="{FF2B5EF4-FFF2-40B4-BE49-F238E27FC236}">
                <a16:creationId xmlns:a16="http://schemas.microsoft.com/office/drawing/2014/main" id="{88353D54-AE87-30F1-3289-6964EE5BF2A9}"/>
              </a:ext>
            </a:extLst>
          </p:cNvPr>
          <p:cNvGrpSpPr/>
          <p:nvPr/>
        </p:nvGrpSpPr>
        <p:grpSpPr>
          <a:xfrm>
            <a:off x="3492330" y="4963463"/>
            <a:ext cx="2071393" cy="1697690"/>
            <a:chOff x="3492330" y="4963463"/>
            <a:chExt cx="2071393" cy="1697690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518CEFCB-450D-B336-DE65-A065DDA0B61A}"/>
                </a:ext>
              </a:extLst>
            </p:cNvPr>
            <p:cNvGrpSpPr/>
            <p:nvPr/>
          </p:nvGrpSpPr>
          <p:grpSpPr>
            <a:xfrm>
              <a:off x="3492330" y="4963463"/>
              <a:ext cx="2071393" cy="1697690"/>
              <a:chOff x="-3150430" y="816996"/>
              <a:chExt cx="2937302" cy="2401962"/>
            </a:xfrm>
          </p:grpSpPr>
          <p:pic>
            <p:nvPicPr>
              <p:cNvPr id="16" name="Picture 15" descr="Course with McGraw Hill Connect ...">
                <a:extLst>
                  <a:ext uri="{FF2B5EF4-FFF2-40B4-BE49-F238E27FC236}">
                    <a16:creationId xmlns:a16="http://schemas.microsoft.com/office/drawing/2014/main" id="{B9692E7C-3171-CAFF-1C9A-259087E3500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-2975189" y="1058723"/>
                <a:ext cx="2596243" cy="1298121"/>
              </a:xfrm>
              <a:prstGeom prst="rect">
                <a:avLst/>
              </a:prstGeom>
            </p:spPr>
          </p:pic>
          <p:pic>
            <p:nvPicPr>
              <p:cNvPr id="18" name="Picture 2" descr="Mac Icon png download - 1153*945 - Free Transparent Macbook Pro png  Download. - CleanPNG / KissPNG">
                <a:extLst>
                  <a:ext uri="{FF2B5EF4-FFF2-40B4-BE49-F238E27FC236}">
                    <a16:creationId xmlns:a16="http://schemas.microsoft.com/office/drawing/2014/main" id="{3EBDEE55-838E-2349-EAA8-6A71043D0C2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4" cstate="print">
                <a:extLst>
                  <a:ext uri="{BEBA8EAE-BF5A-486C-A8C5-ECC9F3942E4B}">
                    <a14:imgProps xmlns:a14="http://schemas.microsoft.com/office/drawing/2010/main">
                      <a14:imgLayer r:embed="rId5">
                        <a14:imgEffect>
                          <a14:backgroundRemoval t="2568" b="96216" l="1000" r="99667">
                            <a14:foregroundMark x1="1000" y1="6351" x2="1000" y2="6351"/>
                            <a14:foregroundMark x1="3333" y1="4459" x2="13889" y2="3378"/>
                            <a14:foregroundMark x1="13889" y1="3378" x2="14111" y2="3243"/>
                            <a14:foregroundMark x1="65889" y1="3243" x2="78667" y2="3378"/>
                            <a14:foregroundMark x1="97222" y1="3649" x2="98222" y2="6757"/>
                            <a14:foregroundMark x1="83444" y1="71216" x2="90111" y2="72027"/>
                            <a14:foregroundMark x1="61111" y1="75946" x2="73889" y2="76216"/>
                            <a14:foregroundMark x1="46333" y1="77838" x2="57889" y2="78378"/>
                            <a14:foregroundMark x1="10111" y1="71892" x2="76444" y2="80676"/>
                            <a14:foregroundMark x1="76444" y1="80676" x2="90778" y2="79054"/>
                            <a14:foregroundMark x1="3889" y1="4730" x2="1222" y2="30000"/>
                            <a14:foregroundMark x1="26222" y1="3243" x2="60111" y2="2568"/>
                            <a14:foregroundMark x1="96556" y1="6892" x2="99667" y2="48784"/>
                            <a14:foregroundMark x1="99667" y1="48784" x2="97222" y2="70811"/>
                            <a14:foregroundMark x1="83778" y1="71622" x2="61111" y2="72703"/>
                            <a14:foregroundMark x1="3667" y1="70270" x2="29222" y2="73108"/>
                            <a14:foregroundMark x1="29222" y1="73108" x2="66444" y2="71622"/>
                            <a14:foregroundMark x1="1889" y1="77973" x2="20667" y2="77568"/>
                            <a14:foregroundMark x1="2000" y1="41486" x2="3667" y2="48784"/>
                            <a14:foregroundMark x1="2000" y1="29730" x2="2667" y2="70541"/>
                            <a14:foregroundMark x1="18333" y1="3243" x2="26111" y2="3378"/>
                            <a14:foregroundMark x1="48000" y1="87027" x2="54111" y2="86351"/>
                            <a14:foregroundMark x1="43111" y1="86081" x2="51556" y2="95811"/>
                            <a14:foregroundMark x1="51556" y1="95811" x2="56889" y2="96216"/>
                            <a14:foregroundMark x1="96556" y1="79054" x2="96556" y2="79054"/>
                            <a14:foregroundMark x1="94889" y1="77432" x2="95556" y2="80405"/>
                            <a14:foregroundMark x1="66667" y1="83919" x2="83222" y2="84189"/>
                            <a14:foregroundMark x1="83222" y1="84189" x2="98333" y2="82973"/>
                            <a14:foregroundMark x1="98333" y1="82973" x2="99556" y2="74865"/>
                            <a14:foregroundMark x1="99556" y1="74865" x2="90556" y2="73514"/>
                            <a14:foregroundMark x1="90556" y1="73514" x2="71333" y2="79459"/>
                            <a14:foregroundMark x1="71333" y1="79459" x2="66778" y2="83243"/>
                            <a14:backgroundMark x1="13556" y1="11486" x2="14778" y2="18378"/>
                            <a14:backgroundMark x1="14778" y1="18378" x2="40889" y2="21351"/>
                            <a14:backgroundMark x1="40889" y1="21351" x2="78222" y2="49054"/>
                            <a14:backgroundMark x1="93333" y1="94189" x2="80000" y2="89730"/>
                            <a14:backgroundMark x1="29000" y1="92703" x2="8667" y2="93243"/>
                            <a14:backgroundMark x1="64333" y1="89459" x2="71667" y2="92432"/>
                            <a14:backgroundMark x1="71667" y1="92432" x2="73889" y2="98514"/>
                            <a14:backgroundMark x1="65889" y1="97703" x2="61556" y2="90946"/>
                            <a14:backgroundMark x1="61556" y1="90946" x2="69930" y2="86898"/>
                            <a14:backgroundMark x1="93618" y1="86176" x2="99333" y2="94865"/>
                            <a14:backgroundMark x1="99333" y1="94865" x2="99333" y2="98243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469"/>
              <a:stretch/>
            </p:blipFill>
            <p:spPr bwMode="auto">
              <a:xfrm>
                <a:off x="-3150430" y="816996"/>
                <a:ext cx="2937302" cy="240196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pic>
          <p:nvPicPr>
            <p:cNvPr id="21" name="Picture 20" descr="McGraw Hill GO">
              <a:extLst>
                <a:ext uri="{FF2B5EF4-FFF2-40B4-BE49-F238E27FC236}">
                  <a16:creationId xmlns:a16="http://schemas.microsoft.com/office/drawing/2014/main" id="{985D99EC-0E64-6696-CA81-735E8D9A788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638757" y="5162364"/>
              <a:ext cx="1791443" cy="844672"/>
            </a:xfrm>
            <a:prstGeom prst="rect">
              <a:avLst/>
            </a:prstGeom>
          </p:spPr>
        </p:pic>
      </p:grpSp>
      <p:pic>
        <p:nvPicPr>
          <p:cNvPr id="14" name="Picture 13" descr="Sharpen on a computer screen and mobile phone screen.">
            <a:extLst>
              <a:ext uri="{FF2B5EF4-FFF2-40B4-BE49-F238E27FC236}">
                <a16:creationId xmlns:a16="http://schemas.microsoft.com/office/drawing/2014/main" id="{89D2B2D2-C204-9A78-7D5B-E1B3BD72D0A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54223" y="4829092"/>
            <a:ext cx="2562641" cy="1959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222791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9F463E3-077C-3A58-C1E8-B041FE7F99B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5CBB8BF-CF40-008B-335C-E1C2C81DB5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3873" y="1020117"/>
            <a:ext cx="10750091" cy="365379"/>
          </a:xfrm>
        </p:spPr>
        <p:txBody>
          <a:bodyPr>
            <a:normAutofit fontScale="90000"/>
          </a:bodyPr>
          <a:lstStyle/>
          <a:p>
            <a:r>
              <a:rPr lang="en-US" dirty="0">
                <a:latin typeface="Arial"/>
                <a:cs typeface="Arial"/>
              </a:rPr>
              <a:t>Students, here are some tips to ace your exams with Sharpen: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5C6BFD1-A69A-34C7-327D-C7873BCED9F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7634" y="1736495"/>
            <a:ext cx="10706330" cy="5004273"/>
          </a:xfrm>
        </p:spPr>
        <p:txBody>
          <a:bodyPr vert="horz" lIns="91440" tIns="45720" rIns="91440" bIns="45720" rtlCol="0" anchor="t">
            <a:noAutofit/>
          </a:bodyPr>
          <a:lstStyle/>
          <a:p>
            <a:pPr>
              <a:spcAft>
                <a:spcPts val="600"/>
              </a:spcAft>
            </a:pPr>
            <a:r>
              <a:rPr lang="en-US" b="1" dirty="0">
                <a:latin typeface="Arial"/>
                <a:cs typeface="Arial"/>
              </a:rPr>
              <a:t>Exam Prep</a:t>
            </a:r>
            <a:endParaRPr lang="en-US" dirty="0"/>
          </a:p>
          <a:p>
            <a:pPr marL="572770" lvl="1" indent="-342900">
              <a:spcAft>
                <a:spcPts val="600"/>
              </a:spcAft>
              <a:buFont typeface="Arial,Sans-Serif"/>
              <a:buChar char="•"/>
            </a:pPr>
            <a:r>
              <a:rPr lang="en-US" sz="1800" dirty="0">
                <a:latin typeface="Arial"/>
                <a:cs typeface="Arial"/>
              </a:rPr>
              <a:t>Spend 10 minutes on Quiz Bank to confirm what you know and check Improve for tips to master concepts you missed. </a:t>
            </a:r>
          </a:p>
          <a:p>
            <a:pPr>
              <a:spcAft>
                <a:spcPts val="600"/>
              </a:spcAft>
            </a:pPr>
            <a:endParaRPr lang="en-US" dirty="0">
              <a:latin typeface="Arial"/>
              <a:cs typeface="Arial"/>
            </a:endParaRPr>
          </a:p>
          <a:p>
            <a:pPr>
              <a:spcAft>
                <a:spcPts val="600"/>
              </a:spcAft>
            </a:pPr>
            <a:r>
              <a:rPr lang="en-US" b="1" dirty="0">
                <a:latin typeface="Arial"/>
                <a:cs typeface="Arial"/>
              </a:rPr>
              <a:t>Weekly Review</a:t>
            </a:r>
            <a:endParaRPr lang="en-US" dirty="0"/>
          </a:p>
          <a:p>
            <a:pPr marL="572770" lvl="1" indent="-342900">
              <a:spcAft>
                <a:spcPts val="600"/>
              </a:spcAft>
              <a:buFont typeface="Arial,Sans-Serif"/>
              <a:buChar char="•"/>
            </a:pPr>
            <a:r>
              <a:rPr lang="en-US" sz="1800" dirty="0">
                <a:latin typeface="Arial"/>
                <a:cs typeface="Arial"/>
              </a:rPr>
              <a:t>Flip through Sharpen flashcards for 5 minutes to test yourself on chapters covered in class.  </a:t>
            </a:r>
          </a:p>
          <a:p>
            <a:pPr marL="572770" lvl="1" indent="-342900">
              <a:spcAft>
                <a:spcPts val="600"/>
              </a:spcAft>
              <a:buFont typeface="Arial,Sans-Serif"/>
              <a:buChar char="•"/>
            </a:pPr>
            <a:endParaRPr lang="en-US" sz="1800" dirty="0">
              <a:latin typeface="Arial"/>
              <a:cs typeface="Arial"/>
            </a:endParaRPr>
          </a:p>
          <a:p>
            <a:pPr>
              <a:spcAft>
                <a:spcPts val="600"/>
              </a:spcAft>
            </a:pPr>
            <a:r>
              <a:rPr lang="en-US" b="1" dirty="0">
                <a:latin typeface="Arial"/>
                <a:cs typeface="Arial"/>
              </a:rPr>
              <a:t>Refresher Before Class</a:t>
            </a:r>
            <a:endParaRPr lang="en-US" dirty="0"/>
          </a:p>
          <a:p>
            <a:pPr marL="572770" lvl="1" indent="-342900">
              <a:spcAft>
                <a:spcPts val="600"/>
              </a:spcAft>
              <a:buFont typeface="Arial,Sans-Serif"/>
              <a:buChar char="•"/>
            </a:pPr>
            <a:r>
              <a:rPr lang="en-US" sz="1800" dirty="0">
                <a:latin typeface="Arial"/>
                <a:cs typeface="Arial"/>
              </a:rPr>
              <a:t>Spend 5 minutes on Sharpen summaries and videos to review key concepts.</a:t>
            </a:r>
            <a:endParaRPr lang="en-US" sz="1800" dirty="0"/>
          </a:p>
          <a:p>
            <a:pPr>
              <a:spcAft>
                <a:spcPts val="600"/>
              </a:spcAft>
            </a:pPr>
            <a:endParaRPr lang="en-US" dirty="0">
              <a:latin typeface="Arial"/>
              <a:cs typeface="Arial"/>
            </a:endParaRPr>
          </a:p>
          <a:p>
            <a:pPr>
              <a:spcAft>
                <a:spcPts val="600"/>
              </a:spcAft>
            </a:pPr>
            <a:r>
              <a:rPr lang="en-US" b="1" dirty="0">
                <a:latin typeface="Arial"/>
                <a:cs typeface="Arial"/>
              </a:rPr>
              <a:t>24/7 Access</a:t>
            </a:r>
            <a:endParaRPr lang="en-US" dirty="0"/>
          </a:p>
          <a:p>
            <a:pPr marL="572770" lvl="1" indent="-342900">
              <a:spcAft>
                <a:spcPts val="600"/>
              </a:spcAft>
              <a:buFont typeface="Arial,Sans-Serif"/>
              <a:buChar char="•"/>
            </a:pPr>
            <a:r>
              <a:rPr lang="en-US" sz="1800" dirty="0">
                <a:latin typeface="Arial"/>
                <a:cs typeface="Arial"/>
              </a:rPr>
              <a:t>Download the Sharpen mobile phone app for iOS or Android. On laptops or tablets, log into Sharpen at </a:t>
            </a:r>
            <a:r>
              <a:rPr lang="en-US" sz="1800" dirty="0">
                <a:latin typeface="Arial"/>
                <a:cs typeface="Arial"/>
                <a:hlinkClick r:id="rId3"/>
              </a:rPr>
              <a:t>www.studysharpen.com</a:t>
            </a:r>
            <a:r>
              <a:rPr lang="en-US" sz="1800" dirty="0">
                <a:latin typeface="Arial"/>
                <a:cs typeface="Arial"/>
              </a:rPr>
              <a:t> or through the GO launch points. 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D5C94D9E-FC4D-03A3-8DAE-A761D5DD985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>
                <a:latin typeface="Arial"/>
                <a:cs typeface="Arial"/>
              </a:rPr>
              <a:t>Getting Started with GO</a:t>
            </a:r>
            <a:r>
              <a:rPr lang="en-US" b="0" baseline="30000">
                <a:latin typeface="Arial"/>
                <a:cs typeface="Arial"/>
              </a:rPr>
              <a:t>®</a:t>
            </a:r>
            <a:endParaRPr lang="en-US" b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3234303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D447DA-790C-DC08-B987-3996A92DD5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04919D9B-5B7C-9214-E598-94D20ED89F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en-US" sz="2200"/>
              <a:t>Sharpen is the ultimate college study app for exam prep</a:t>
            </a:r>
            <a:endParaRPr lang="en-US" sz="2200" b="0">
              <a:solidFill>
                <a:srgbClr val="000000"/>
              </a:solidFill>
            </a:endParaRP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BC464A10-43F9-3430-2972-CA8AE92783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>
                <a:latin typeface="Arial"/>
                <a:cs typeface="Arial"/>
              </a:rPr>
              <a:t>Getting Started with GO</a:t>
            </a:r>
            <a:r>
              <a:rPr lang="en-US" b="0" baseline="30000">
                <a:latin typeface="Arial"/>
                <a:cs typeface="Arial"/>
              </a:rPr>
              <a:t>®</a:t>
            </a:r>
            <a:endParaRPr lang="en-US" b="0">
              <a:solidFill>
                <a:srgbClr val="333333"/>
              </a:solidFill>
              <a:latin typeface="Arial"/>
              <a:cs typeface="Arial"/>
            </a:endParaRPr>
          </a:p>
        </p:txBody>
      </p:sp>
      <p:pic>
        <p:nvPicPr>
          <p:cNvPr id="15" name="Picture 14" descr="Screenshots of Sharpen features on a mobile phone, left to right:&#10;Videos.&#10;Chapter summaries.&#10;Flashcards.&#10;Quiz bank for exam prep.&#10;The Improve section.">
            <a:extLst>
              <a:ext uri="{FF2B5EF4-FFF2-40B4-BE49-F238E27FC236}">
                <a16:creationId xmlns:a16="http://schemas.microsoft.com/office/drawing/2014/main" id="{4D7329B5-9022-32EB-171E-63A1E3CCA9A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5854" y="1519947"/>
            <a:ext cx="11600292" cy="3438932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42CA7E5D-8879-FB6D-FC14-543B8C66B393}"/>
              </a:ext>
            </a:extLst>
          </p:cNvPr>
          <p:cNvSpPr txBox="1"/>
          <p:nvPr/>
        </p:nvSpPr>
        <p:spPr>
          <a:xfrm>
            <a:off x="403621" y="5248436"/>
            <a:ext cx="116530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IDEO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4357D24-178B-42E5-AB3D-6FDD8A46F991}"/>
              </a:ext>
            </a:extLst>
          </p:cNvPr>
          <p:cNvSpPr txBox="1"/>
          <p:nvPr/>
        </p:nvSpPr>
        <p:spPr>
          <a:xfrm>
            <a:off x="2569458" y="5170976"/>
            <a:ext cx="180777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HAPTER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UMMARI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28A1D04-FFA7-A18E-39EB-83779F730771}"/>
              </a:ext>
            </a:extLst>
          </p:cNvPr>
          <p:cNvSpPr txBox="1"/>
          <p:nvPr/>
        </p:nvSpPr>
        <p:spPr>
          <a:xfrm>
            <a:off x="5067562" y="5294602"/>
            <a:ext cx="200574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LASHCARD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44B6544-82B2-43AD-ED31-6A2AB6AC827A}"/>
              </a:ext>
            </a:extLst>
          </p:cNvPr>
          <p:cNvSpPr txBox="1"/>
          <p:nvPr/>
        </p:nvSpPr>
        <p:spPr>
          <a:xfrm>
            <a:off x="7543610" y="5140714"/>
            <a:ext cx="200574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QUIZ BANK FOR EXAM PREP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663C3E1-5627-25CB-FD55-C9E58B6367C0}"/>
              </a:ext>
            </a:extLst>
          </p:cNvPr>
          <p:cNvSpPr txBox="1"/>
          <p:nvPr/>
        </p:nvSpPr>
        <p:spPr>
          <a:xfrm>
            <a:off x="10239677" y="5110764"/>
            <a:ext cx="147736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MPROVE SECTION</a:t>
            </a:r>
          </a:p>
        </p:txBody>
      </p:sp>
    </p:spTree>
    <p:extLst>
      <p:ext uri="{BB962C8B-B14F-4D97-AF65-F5344CB8AC3E}">
        <p14:creationId xmlns:p14="http://schemas.microsoft.com/office/powerpoint/2010/main" val="38468920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ver Slides">
  <a:themeElements>
    <a:clrScheme name="Custom 3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352815ED-5449-C549-90F0-EF17730CF768}"/>
    </a:ext>
  </a:extLst>
</a:theme>
</file>

<file path=ppt/theme/theme10.xml><?xml version="1.0" encoding="utf-8"?>
<a:theme xmlns:a="http://schemas.openxmlformats.org/drawingml/2006/main" name="Closing Slides">
  <a:themeElements>
    <a:clrScheme name="Custom 3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5D7D9312-D834-4646-A40F-5CFBDD29F038}"/>
    </a:ext>
  </a:extLst>
</a:theme>
</file>

<file path=ppt/theme/theme11.xml><?xml version="1.0" encoding="utf-8"?>
<a:theme xmlns:a="http://schemas.openxmlformats.org/drawingml/2006/main" name="Master Slide Gray Header">
  <a:themeElements>
    <a:clrScheme name="Custom 2">
      <a:dk1>
        <a:srgbClr val="333333"/>
      </a:dk1>
      <a:lt1>
        <a:srgbClr val="FFFFFF"/>
      </a:lt1>
      <a:dk2>
        <a:srgbClr val="06235B"/>
      </a:dk2>
      <a:lt2>
        <a:srgbClr val="666666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06235B"/>
      </a:accent5>
      <a:accent6>
        <a:srgbClr val="D9E5FC"/>
      </a:accent6>
      <a:hlink>
        <a:srgbClr val="666666"/>
      </a:hlink>
      <a:folHlink>
        <a:srgbClr val="333333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cGraw Hill PPT template as of 12.7.21" id="{AFE06423-DED1-418F-A980-C7FCDD9FF36E}" vid="{37397CAB-5060-489A-BB65-9DFAEE360247}"/>
    </a:ext>
  </a:extLst>
</a:theme>
</file>

<file path=ppt/theme/theme12.xml><?xml version="1.0" encoding="utf-8"?>
<a:theme xmlns:a="http://schemas.openxmlformats.org/drawingml/2006/main" name="7_Office Theme">
  <a:themeElements>
    <a:clrScheme name="Redi">
      <a:dk1>
        <a:srgbClr val="313936"/>
      </a:dk1>
      <a:lt1>
        <a:srgbClr val="F2F6F3"/>
      </a:lt1>
      <a:dk2>
        <a:srgbClr val="313936"/>
      </a:dk2>
      <a:lt2>
        <a:srgbClr val="F3F6F4"/>
      </a:lt2>
      <a:accent1>
        <a:srgbClr val="FED67A"/>
      </a:accent1>
      <a:accent2>
        <a:srgbClr val="F4A352"/>
      </a:accent2>
      <a:accent3>
        <a:srgbClr val="F16E55"/>
      </a:accent3>
      <a:accent4>
        <a:srgbClr val="BE497F"/>
      </a:accent4>
      <a:accent5>
        <a:srgbClr val="AA285E"/>
      </a:accent5>
      <a:accent6>
        <a:srgbClr val="4D2F71"/>
      </a:accent6>
      <a:hlink>
        <a:srgbClr val="57C1DD"/>
      </a:hlink>
      <a:folHlink>
        <a:srgbClr val="1E93C6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4.xml><?xml version="1.0" encoding="utf-8"?>
<a:theme xmlns:a="http://schemas.openxmlformats.org/drawingml/2006/main" name="Office Theme 2013 - 2022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 2013 - 2022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able of Contents Slides">
  <a:themeElements>
    <a:clrScheme name="Custom 5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B39F900F-F438-ED4C-9BB9-27EDD81E7952}"/>
    </a:ext>
  </a:extLst>
</a:theme>
</file>

<file path=ppt/theme/theme3.xml><?xml version="1.0" encoding="utf-8"?>
<a:theme xmlns:a="http://schemas.openxmlformats.org/drawingml/2006/main" name="Chapter Slides">
  <a:themeElements>
    <a:clrScheme name="Custom 5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DED5EA3D-16A4-7C45-BF12-D3DCD01D7420}"/>
    </a:ext>
  </a:extLst>
</a:theme>
</file>

<file path=ppt/theme/theme4.xml><?xml version="1.0" encoding="utf-8"?>
<a:theme xmlns:a="http://schemas.openxmlformats.org/drawingml/2006/main" name="Split Content Slides">
  <a:themeElements>
    <a:clrScheme name="Custom 5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C3BA3656-BF0F-DA41-B94C-4D0F4B5A7075}"/>
    </a:ext>
  </a:extLst>
</a:theme>
</file>

<file path=ppt/theme/theme5.xml><?xml version="1.0" encoding="utf-8"?>
<a:theme xmlns:a="http://schemas.openxmlformats.org/drawingml/2006/main" name="List Slides">
  <a:themeElements>
    <a:clrScheme name="Custom 5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845AF564-5821-B446-B673-46A17AAE1048}"/>
    </a:ext>
  </a:extLst>
</a:theme>
</file>

<file path=ppt/theme/theme6.xml><?xml version="1.0" encoding="utf-8"?>
<a:theme xmlns:a="http://schemas.openxmlformats.org/drawingml/2006/main" name="Call-Out Box Slides">
  <a:themeElements>
    <a:clrScheme name="Custom 5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15D6BFAF-FDB0-6C4F-BE05-70B8932CB53C}"/>
    </a:ext>
  </a:extLst>
</a:theme>
</file>

<file path=ppt/theme/theme7.xml><?xml version="1.0" encoding="utf-8"?>
<a:theme xmlns:a="http://schemas.openxmlformats.org/drawingml/2006/main" name="Column and Statistic Slides">
  <a:themeElements>
    <a:clrScheme name="Custom 5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68866F8D-219E-1D48-8232-F35BAF3AB18E}"/>
    </a:ext>
  </a:extLst>
</a:theme>
</file>

<file path=ppt/theme/theme8.xml><?xml version="1.0" encoding="utf-8"?>
<a:theme xmlns:a="http://schemas.openxmlformats.org/drawingml/2006/main" name="Quotes">
  <a:themeElements>
    <a:clrScheme name="Custom 2">
      <a:dk1>
        <a:srgbClr val="333333"/>
      </a:dk1>
      <a:lt1>
        <a:srgbClr val="FFFFFF"/>
      </a:lt1>
      <a:dk2>
        <a:srgbClr val="06235B"/>
      </a:dk2>
      <a:lt2>
        <a:srgbClr val="666666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06235B"/>
      </a:accent5>
      <a:accent6>
        <a:srgbClr val="D9E5FC"/>
      </a:accent6>
      <a:hlink>
        <a:srgbClr val="666666"/>
      </a:hlink>
      <a:folHlink>
        <a:srgbClr val="333333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99952907-742D-2147-98E7-3817E1F17243}"/>
    </a:ext>
  </a:extLst>
</a:theme>
</file>

<file path=ppt/theme/theme9.xml><?xml version="1.0" encoding="utf-8"?>
<a:theme xmlns:a="http://schemas.openxmlformats.org/drawingml/2006/main" name="Bio Slides">
  <a:themeElements>
    <a:clrScheme name="Custom 2">
      <a:dk1>
        <a:srgbClr val="333333"/>
      </a:dk1>
      <a:lt1>
        <a:srgbClr val="FFFFFF"/>
      </a:lt1>
      <a:dk2>
        <a:srgbClr val="06235B"/>
      </a:dk2>
      <a:lt2>
        <a:srgbClr val="666666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06235B"/>
      </a:accent5>
      <a:accent6>
        <a:srgbClr val="D9E5FC"/>
      </a:accent6>
      <a:hlink>
        <a:srgbClr val="666666"/>
      </a:hlink>
      <a:folHlink>
        <a:srgbClr val="333333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E689B527-ECED-9640-BAF2-E295E40E1BB3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55eee036-b312-4691-be2e-efe9fdaf1737">
      <Terms xmlns="http://schemas.microsoft.com/office/infopath/2007/PartnerControls"/>
    </lcf76f155ced4ddcb4097134ff3c332f>
    <TaxCatchAll xmlns="4f83251b-4d3b-4580-8981-be5e2b08b791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63E5BD4A2DB99489DADB245B77948E1" ma:contentTypeVersion="14" ma:contentTypeDescription="Create a new document." ma:contentTypeScope="" ma:versionID="8fe2cf224561322f6307ff69f0cbd4e8">
  <xsd:schema xmlns:xsd="http://www.w3.org/2001/XMLSchema" xmlns:xs="http://www.w3.org/2001/XMLSchema" xmlns:p="http://schemas.microsoft.com/office/2006/metadata/properties" xmlns:ns2="55eee036-b312-4691-be2e-efe9fdaf1737" xmlns:ns3="4f83251b-4d3b-4580-8981-be5e2b08b791" targetNamespace="http://schemas.microsoft.com/office/2006/metadata/properties" ma:root="true" ma:fieldsID="efd146875e61d015b75b2115db56588f" ns2:_="" ns3:_="">
    <xsd:import namespace="55eee036-b312-4691-be2e-efe9fdaf1737"/>
    <xsd:import namespace="4f83251b-4d3b-4580-8981-be5e2b08b79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5eee036-b312-4691-be2e-efe9fdaf173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b8617a1-beef-4e24-867f-51551f54cfe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f83251b-4d3b-4580-8981-be5e2b08b791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c39b3064-63db-4cd0-875f-805d9032981a}" ma:internalName="TaxCatchAll" ma:showField="CatchAllData" ma:web="4f83251b-4d3b-4580-8981-be5e2b08b79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92827D6-6DC0-4774-96A1-CBE03911362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4F98F79-CDE5-4D73-B2C6-1BC6C1BC02F1}">
  <ds:schemaRefs>
    <ds:schemaRef ds:uri="http://www.w3.org/XML/1998/namespace"/>
    <ds:schemaRef ds:uri="http://schemas.microsoft.com/office/2006/documentManagement/types"/>
    <ds:schemaRef ds:uri="http://purl.org/dc/dcmitype/"/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infopath/2007/PartnerControls"/>
    <ds:schemaRef ds:uri="4f83251b-4d3b-4580-8981-be5e2b08b791"/>
    <ds:schemaRef ds:uri="55eee036-b312-4691-be2e-efe9fdaf1737"/>
  </ds:schemaRefs>
</ds:datastoreItem>
</file>

<file path=customXml/itemProps3.xml><?xml version="1.0" encoding="utf-8"?>
<ds:datastoreItem xmlns:ds="http://schemas.openxmlformats.org/officeDocument/2006/customXml" ds:itemID="{68845EF1-51FD-457F-900B-6CEF5A35C7E7}">
  <ds:schemaRefs>
    <ds:schemaRef ds:uri="4f83251b-4d3b-4580-8981-be5e2b08b791"/>
    <ds:schemaRef ds:uri="55eee036-b312-4691-be2e-efe9fdaf1737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2023.03.13 McGraw Hill PowerPoint Template</Template>
  <TotalTime>9</TotalTime>
  <Words>914</Words>
  <Application>Microsoft Macintosh PowerPoint</Application>
  <PresentationFormat>Widescreen</PresentationFormat>
  <Paragraphs>121</Paragraphs>
  <Slides>18</Slides>
  <Notes>15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40" baseType="lpstr">
      <vt:lpstr>Arial</vt:lpstr>
      <vt:lpstr>Arial Black</vt:lpstr>
      <vt:lpstr>Arial,Sans-Serif</vt:lpstr>
      <vt:lpstr>Calibri</vt:lpstr>
      <vt:lpstr>Magazine Grotesque</vt:lpstr>
      <vt:lpstr>Magazine Grotesque Bold</vt:lpstr>
      <vt:lpstr>Proxima Nova</vt:lpstr>
      <vt:lpstr>Wingdings</vt:lpstr>
      <vt:lpstr>Wingdings,Sans-Serif</vt:lpstr>
      <vt:lpstr>Cover Slides</vt:lpstr>
      <vt:lpstr>Table of Contents Slides</vt:lpstr>
      <vt:lpstr>Chapter Slides</vt:lpstr>
      <vt:lpstr>Split Content Slides</vt:lpstr>
      <vt:lpstr>List Slides</vt:lpstr>
      <vt:lpstr>Call-Out Box Slides</vt:lpstr>
      <vt:lpstr>Column and Statistic Slides</vt:lpstr>
      <vt:lpstr>Quotes</vt:lpstr>
      <vt:lpstr>Bio Slides</vt:lpstr>
      <vt:lpstr>Closing Slides</vt:lpstr>
      <vt:lpstr>Master Slide Gray Header</vt:lpstr>
      <vt:lpstr>7_Office Theme</vt:lpstr>
      <vt:lpstr>think-cell Slide</vt:lpstr>
      <vt:lpstr>Slides Available for the First Day of Class: Sharpen Companion, IA, Moodle</vt:lpstr>
      <vt:lpstr>McGraw Hill GO</vt:lpstr>
      <vt:lpstr>What is McGraw Hill GO?</vt:lpstr>
      <vt:lpstr>Step 1</vt:lpstr>
      <vt:lpstr>Step 2</vt:lpstr>
      <vt:lpstr>Getting Started with McGraw Hill GO®  and Sharpen  </vt:lpstr>
      <vt:lpstr>Students: What is GO with Sharpen?</vt:lpstr>
      <vt:lpstr>Students, here are some tips to ace your exams with Sharpen:</vt:lpstr>
      <vt:lpstr>Sharpen is the ultimate college study app for exam prep</vt:lpstr>
      <vt:lpstr>Download the Sharpen College Study App – Scan This Code​</vt:lpstr>
      <vt:lpstr>Sharpen Companion Purchase Flow GO: IA Integrated with a Learning Management System (LMS)  </vt:lpstr>
      <vt:lpstr>Accessing McGraw Hill GO:  Moodle</vt:lpstr>
      <vt:lpstr>Accessing McGraw Hill GO:  Sharpen</vt:lpstr>
      <vt:lpstr>Step 3: </vt:lpstr>
      <vt:lpstr>Step 4: </vt:lpstr>
      <vt:lpstr>Sharpen Companion Log-In Flow GO: IA and non-IA  </vt:lpstr>
      <vt:lpstr>Logging into Sharpen: Registered Students</vt:lpstr>
      <vt:lpstr>Thank you!</vt:lpstr>
    </vt:vector>
  </TitlesOfParts>
  <Company>McGraw-Hil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etting Started with ALEKS®</dc:title>
  <dc:creator>Hicks, Selena</dc:creator>
  <cp:lastModifiedBy>Griffin, Raven</cp:lastModifiedBy>
  <cp:revision>6</cp:revision>
  <dcterms:created xsi:type="dcterms:W3CDTF">2023-07-10T01:20:11Z</dcterms:created>
  <dcterms:modified xsi:type="dcterms:W3CDTF">2025-05-30T16:45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63E5BD4A2DB99489DADB245B77948E1</vt:lpwstr>
  </property>
  <property fmtid="{D5CDD505-2E9C-101B-9397-08002B2CF9AE}" pid="3" name="MediaServiceImageTags">
    <vt:lpwstr/>
  </property>
  <property fmtid="{D5CDD505-2E9C-101B-9397-08002B2CF9AE}" pid="4" name="Order">
    <vt:r8>2220300</vt:r8>
  </property>
  <property fmtid="{D5CDD505-2E9C-101B-9397-08002B2CF9AE}" pid="5" name="xd_Signature">
    <vt:bool>false</vt:bool>
  </property>
  <property fmtid="{D5CDD505-2E9C-101B-9397-08002B2CF9AE}" pid="6" name="xd_ProgID">
    <vt:lpwstr/>
  </property>
  <property fmtid="{D5CDD505-2E9C-101B-9397-08002B2CF9AE}" pid="7" name="ComplianceAssetId">
    <vt:lpwstr/>
  </property>
  <property fmtid="{D5CDD505-2E9C-101B-9397-08002B2CF9AE}" pid="8" name="TemplateUrl">
    <vt:lpwstr/>
  </property>
  <property fmtid="{D5CDD505-2E9C-101B-9397-08002B2CF9AE}" pid="9" name="_ExtendedDescription">
    <vt:lpwstr/>
  </property>
  <property fmtid="{D5CDD505-2E9C-101B-9397-08002B2CF9AE}" pid="10" name="TriggerFlowInfo">
    <vt:lpwstr/>
  </property>
</Properties>
</file>